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57" r:id="rId5"/>
  </p:sldIdLst>
  <p:sldSz cx="10691813" cy="7559675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7DB82C-53F2-2B3B-995D-529A19B64E72}" name="Kasia Mierzejewska" initials="KM" userId="S::Kasia.Mierzejewska@nousgroup.com::dc82ed6e-3d25-4e80-83a1-757ba10a434b" providerId="AD"/>
  <p188:author id="{3853C834-174E-570C-662B-305B92BE61A5}" name="Jared Johnson" initials="JJ" userId="S::jared.johnson@nousgroup.com.au::8e10f9e5-3807-4b93-9bfe-bd2ebc42a00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D7D"/>
    <a:srgbClr val="37465B"/>
    <a:srgbClr val="FDBE57"/>
    <a:srgbClr val="B520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56110C-5C94-4AB9-9017-9E7B3132990D}" v="2" dt="2023-07-31T01:04:37.5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214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annah Tran" userId="ca071bd6-a585-4695-914d-bc8a7ace8862" providerId="ADAL" clId="{9856110C-5C94-4AB9-9017-9E7B3132990D}"/>
    <pc:docChg chg="modSld">
      <pc:chgData name="Alannah Tran" userId="ca071bd6-a585-4695-914d-bc8a7ace8862" providerId="ADAL" clId="{9856110C-5C94-4AB9-9017-9E7B3132990D}" dt="2023-07-31T01:04:01.498" v="1"/>
      <pc:docMkLst>
        <pc:docMk/>
      </pc:docMkLst>
      <pc:sldChg chg="modSp mod">
        <pc:chgData name="Alannah Tran" userId="ca071bd6-a585-4695-914d-bc8a7ace8862" providerId="ADAL" clId="{9856110C-5C94-4AB9-9017-9E7B3132990D}" dt="2023-07-31T01:04:01.498" v="1"/>
        <pc:sldMkLst>
          <pc:docMk/>
          <pc:sldMk cId="179364010" sldId="257"/>
        </pc:sldMkLst>
        <pc:graphicFrameChg chg="mod modVis">
          <ac:chgData name="Alannah Tran" userId="ca071bd6-a585-4695-914d-bc8a7ace8862" providerId="ADAL" clId="{9856110C-5C94-4AB9-9017-9E7B3132990D}" dt="2023-07-31T01:04:01.498" v="1"/>
          <ac:graphicFrameMkLst>
            <pc:docMk/>
            <pc:sldMk cId="179364010" sldId="257"/>
            <ac:graphicFrameMk id="12" creationId="{996997C0-ABCC-BBF3-12AD-0C7AC342FC67}"/>
          </ac:graphicFrameMkLst>
        </pc:graphicFrameChg>
      </pc:sldChg>
    </pc:docChg>
  </pc:docChgLst>
  <pc:docChgLst>
    <pc:chgData name="Chelci Cox (DEECA)" userId="741e8044-b9a9-4f64-9945-56170e728a80" providerId="ADAL" clId="{A8C053D7-DCB0-4910-AF8D-5F534D0A3280}"/>
    <pc:docChg chg="custSel modMainMaster">
      <pc:chgData name="Chelci Cox (DEECA)" userId="741e8044-b9a9-4f64-9945-56170e728a80" providerId="ADAL" clId="{A8C053D7-DCB0-4910-AF8D-5F534D0A3280}" dt="2023-06-09T04:50:47.133" v="28"/>
      <pc:docMkLst>
        <pc:docMk/>
      </pc:docMkLst>
      <pc:sldMasterChg chg="addSp modSp mod">
        <pc:chgData name="Chelci Cox (DEECA)" userId="741e8044-b9a9-4f64-9945-56170e728a80" providerId="ADAL" clId="{A8C053D7-DCB0-4910-AF8D-5F534D0A3280}" dt="2023-06-09T04:50:47.133" v="28"/>
        <pc:sldMasterMkLst>
          <pc:docMk/>
          <pc:sldMasterMk cId="4068515473" sldId="2147483660"/>
        </pc:sldMasterMkLst>
        <pc:spChg chg="add mod modVis">
          <ac:chgData name="Chelci Cox (DEECA)" userId="741e8044-b9a9-4f64-9945-56170e728a80" providerId="ADAL" clId="{A8C053D7-DCB0-4910-AF8D-5F534D0A3280}" dt="2023-06-09T04:50:47.133" v="28"/>
          <ac:spMkLst>
            <pc:docMk/>
            <pc:sldMasterMk cId="4068515473" sldId="2147483660"/>
            <ac:spMk id="2" creationId="{CCFD2492-0211-3BDF-2D0A-CD930629944B}"/>
          </ac:spMkLst>
        </pc:spChg>
      </pc:sldMasterChg>
    </pc:docChg>
  </pc:docChgLst>
  <pc:docChgLst>
    <pc:chgData name="Alannah Tran" userId="ca071bd6-a585-4695-914d-bc8a7ace8862" providerId="ADAL" clId="{47B8B89E-CE3F-43B5-BCA8-1E4B51C2B4FA}"/>
    <pc:docChg chg="undo custSel addSld delSld modSld delMainMaster modMainMaster replTag">
      <pc:chgData name="Alannah Tran" userId="ca071bd6-a585-4695-914d-bc8a7ace8862" providerId="ADAL" clId="{47B8B89E-CE3F-43B5-BCA8-1E4B51C2B4FA}" dt="2023-07-03T06:23:50.329" v="217" actId="20577"/>
      <pc:docMkLst>
        <pc:docMk/>
      </pc:docMkLst>
      <pc:sldChg chg="del">
        <pc:chgData name="Alannah Tran" userId="ca071bd6-a585-4695-914d-bc8a7ace8862" providerId="ADAL" clId="{47B8B89E-CE3F-43B5-BCA8-1E4B51C2B4FA}" dt="2023-07-03T06:19:58.329" v="115" actId="47"/>
        <pc:sldMkLst>
          <pc:docMk/>
          <pc:sldMk cId="3554633377" sldId="256"/>
        </pc:sldMkLst>
      </pc:sldChg>
      <pc:sldChg chg="addSp delSp modSp add del mod">
        <pc:chgData name="Alannah Tran" userId="ca071bd6-a585-4695-914d-bc8a7ace8862" providerId="ADAL" clId="{47B8B89E-CE3F-43B5-BCA8-1E4B51C2B4FA}" dt="2023-07-03T06:23:50.329" v="217" actId="20577"/>
        <pc:sldMkLst>
          <pc:docMk/>
          <pc:sldMk cId="179364010" sldId="257"/>
        </pc:sldMkLst>
        <pc:spChg chg="add del mod">
          <ac:chgData name="Alannah Tran" userId="ca071bd6-a585-4695-914d-bc8a7ace8862" providerId="ADAL" clId="{47B8B89E-CE3F-43B5-BCA8-1E4B51C2B4FA}" dt="2023-07-03T06:22:00.329" v="147" actId="478"/>
          <ac:spMkLst>
            <pc:docMk/>
            <pc:sldMk cId="179364010" sldId="257"/>
            <ac:spMk id="2" creationId="{D2C1AA09-DF5D-F420-5D2A-E9C3F7E8B488}"/>
          </ac:spMkLst>
        </pc:spChg>
        <pc:spChg chg="del">
          <ac:chgData name="Alannah Tran" userId="ca071bd6-a585-4695-914d-bc8a7ace8862" providerId="ADAL" clId="{47B8B89E-CE3F-43B5-BCA8-1E4B51C2B4FA}" dt="2023-07-03T06:19:11.948" v="3" actId="478"/>
          <ac:spMkLst>
            <pc:docMk/>
            <pc:sldMk cId="179364010" sldId="257"/>
            <ac:spMk id="3" creationId="{F16DB1CA-72C4-EA13-3AF7-C2FE1D184A38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4" creationId="{378023CB-1BCB-2983-B85F-48614D8FF0BF}"/>
          </ac:spMkLst>
        </pc:spChg>
        <pc:spChg chg="mod">
          <ac:chgData name="Alannah Tran" userId="ca071bd6-a585-4695-914d-bc8a7ace8862" providerId="ADAL" clId="{47B8B89E-CE3F-43B5-BCA8-1E4B51C2B4FA}" dt="2023-07-03T06:22:17.229" v="150" actId="948"/>
          <ac:spMkLst>
            <pc:docMk/>
            <pc:sldMk cId="179364010" sldId="257"/>
            <ac:spMk id="5" creationId="{2C23A05B-338A-E882-D37C-C09A4BEA8CED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6" creationId="{FDD8D4B6-22A1-F171-8AA3-B7C4DEB4EB30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7" creationId="{7C9D86DE-5B3C-AF52-3B5C-53B89AA9EF4D}"/>
          </ac:spMkLst>
        </pc:spChg>
        <pc:spChg chg="add mod">
          <ac:chgData name="Alannah Tran" userId="ca071bd6-a585-4695-914d-bc8a7ace8862" providerId="ADAL" clId="{47B8B89E-CE3F-43B5-BCA8-1E4B51C2B4FA}" dt="2023-07-03T06:22:23.977" v="195" actId="1076"/>
          <ac:spMkLst>
            <pc:docMk/>
            <pc:sldMk cId="179364010" sldId="257"/>
            <ac:spMk id="8" creationId="{EF26F24E-BE49-04A0-D6B9-21213D8B6BFD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9" creationId="{B82D8D9C-7FC4-7C37-78A5-1CA6F21ED817}"/>
          </ac:spMkLst>
        </pc:spChg>
        <pc:spChg chg="add mod">
          <ac:chgData name="Alannah Tran" userId="ca071bd6-a585-4695-914d-bc8a7ace8862" providerId="ADAL" clId="{47B8B89E-CE3F-43B5-BCA8-1E4B51C2B4FA}" dt="2023-07-03T06:22:25.874" v="196" actId="14100"/>
          <ac:spMkLst>
            <pc:docMk/>
            <pc:sldMk cId="179364010" sldId="257"/>
            <ac:spMk id="10" creationId="{FABB8DE6-9822-4DB3-3E3D-023E08DCA47F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1" creationId="{0984EA5C-7E6A-054B-3553-7E94D4904060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3" creationId="{CE3FAA23-46E4-E4E5-1D30-856E585107CA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4" creationId="{FBA66439-70D8-EBAA-091F-4425E014FE15}"/>
          </ac:spMkLst>
        </pc:spChg>
        <pc:spChg chg="add mod">
          <ac:chgData name="Alannah Tran" userId="ca071bd6-a585-4695-914d-bc8a7ace8862" providerId="ADAL" clId="{47B8B89E-CE3F-43B5-BCA8-1E4B51C2B4FA}" dt="2023-07-03T06:22:29.041" v="197" actId="14100"/>
          <ac:spMkLst>
            <pc:docMk/>
            <pc:sldMk cId="179364010" sldId="257"/>
            <ac:spMk id="15" creationId="{D0CDBFEF-D4D8-DE91-4888-2FB2F7BA9552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6" creationId="{6BAB3551-5510-CE20-6E34-229C5C5769E7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7" creationId="{D07A37DB-F5F9-506B-C7A8-0EDEB3BCA8FF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8" creationId="{799FBA07-6BF2-346C-AAE5-AF575F37A771}"/>
          </ac:spMkLst>
        </pc:spChg>
        <pc:spChg chg="add mod">
          <ac:chgData name="Alannah Tran" userId="ca071bd6-a585-4695-914d-bc8a7ace8862" providerId="ADAL" clId="{47B8B89E-CE3F-43B5-BCA8-1E4B51C2B4FA}" dt="2023-07-03T06:22:40.755" v="199" actId="14100"/>
          <ac:spMkLst>
            <pc:docMk/>
            <pc:sldMk cId="179364010" sldId="257"/>
            <ac:spMk id="19" creationId="{0054D824-B0FE-0F95-95C7-A97A56381277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0" creationId="{921FD4E9-081E-50FE-20F9-1D7D12E9A623}"/>
          </ac:spMkLst>
        </pc:spChg>
        <pc:spChg chg="add mod">
          <ac:chgData name="Alannah Tran" userId="ca071bd6-a585-4695-914d-bc8a7ace8862" providerId="ADAL" clId="{47B8B89E-CE3F-43B5-BCA8-1E4B51C2B4FA}" dt="2023-07-03T06:23:09.761" v="207" actId="114"/>
          <ac:spMkLst>
            <pc:docMk/>
            <pc:sldMk cId="179364010" sldId="257"/>
            <ac:spMk id="21" creationId="{171D27BA-1CCB-08B3-9F01-F1040FA84BC9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2" creationId="{8442BA56-896C-7AAD-471E-DC068737248C}"/>
          </ac:spMkLst>
        </pc:spChg>
        <pc:spChg chg="add mod">
          <ac:chgData name="Alannah Tran" userId="ca071bd6-a585-4695-914d-bc8a7ace8862" providerId="ADAL" clId="{47B8B89E-CE3F-43B5-BCA8-1E4B51C2B4FA}" dt="2023-07-03T06:23:50.329" v="217" actId="20577"/>
          <ac:spMkLst>
            <pc:docMk/>
            <pc:sldMk cId="179364010" sldId="257"/>
            <ac:spMk id="23" creationId="{7C35F8C7-CBA7-8B27-4C3F-A65F5D1B3618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4" creationId="{4C137A72-DBB2-D106-DA91-4ECED7EEF0DA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5" creationId="{40EDD71B-CC7F-174C-899D-E91EE2D07496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6" creationId="{282C9F9E-E1AC-A6C9-B401-4D569E04E16F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7" creationId="{2B1E71E8-3428-2A8D-7FBC-AD4D16926D12}"/>
          </ac:spMkLst>
        </pc:spChg>
        <pc:spChg chg="add mod">
          <ac:chgData name="Alannah Tran" userId="ca071bd6-a585-4695-914d-bc8a7ace8862" providerId="ADAL" clId="{47B8B89E-CE3F-43B5-BCA8-1E4B51C2B4FA}" dt="2023-07-03T06:22:35.887" v="198" actId="14100"/>
          <ac:spMkLst>
            <pc:docMk/>
            <pc:sldMk cId="179364010" sldId="257"/>
            <ac:spMk id="28" creationId="{EE74B531-4690-3E92-6B22-F02F21995EE8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29" creationId="{90B54A12-5E8E-B012-0754-0F74920B8CE1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30" creationId="{196399B3-4295-75A4-9C7D-940C2C0C393A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31" creationId="{25641265-0981-89DE-CDBD-8308809D182D}"/>
          </ac:spMkLst>
        </pc:spChg>
        <pc:spChg chg="add mod">
          <ac:chgData name="Alannah Tran" userId="ca071bd6-a585-4695-914d-bc8a7ace8862" providerId="ADAL" clId="{47B8B89E-CE3F-43B5-BCA8-1E4B51C2B4FA}" dt="2023-07-03T06:22:46.483" v="201" actId="403"/>
          <ac:spMkLst>
            <pc:docMk/>
            <pc:sldMk cId="179364010" sldId="257"/>
            <ac:spMk id="32" creationId="{B3625B10-5A1F-9DF3-6111-78B38F55C39E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33" creationId="{9E76B915-65AB-587E-7A42-02481CFE510E}"/>
          </ac:spMkLst>
        </pc:spChg>
        <pc:spChg chg="add mod">
          <ac:chgData name="Alannah Tran" userId="ca071bd6-a585-4695-914d-bc8a7ace8862" providerId="ADAL" clId="{47B8B89E-CE3F-43B5-BCA8-1E4B51C2B4FA}" dt="2023-07-03T06:22:57.503" v="205" actId="6549"/>
          <ac:spMkLst>
            <pc:docMk/>
            <pc:sldMk cId="179364010" sldId="257"/>
            <ac:spMk id="34" creationId="{D30EA624-C1AC-9A15-61AA-4CA9867071C3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36" creationId="{955162CE-BAFC-44BD-AB93-A0738BE4C80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37" creationId="{21098148-D82C-1811-6FBB-1C667D82956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38" creationId="{ECCC0D6C-7831-D480-F558-458F0500AD8F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0" creationId="{F6A9FDC5-D1A8-12B5-40BE-D4DA7E01CCA5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1" creationId="{2106CE26-8C32-FC01-5C8E-7C1CA9248812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2" creationId="{11577A3C-EA2B-3C0C-9F8F-6D18639FA208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3" creationId="{B026A2CC-EC42-192D-B527-02BC92DB1DA3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4" creationId="{2B0B8592-BAAC-50AE-4EED-9FB5CE1C7CD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6" creationId="{33D2774D-B9D9-2F51-B554-F21E12D07DD0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7" creationId="{A04BCCB2-6BCC-3C5F-9B0F-71E15192AF0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49" creationId="{031727AB-236C-19D9-FA63-48868ECABA8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0" creationId="{365CEB2A-D2C1-CCFD-23DD-0AB280ABC655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1" creationId="{78606FA3-E01D-9EAA-F306-C669E7597D3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2" creationId="{813DB4FC-7C77-B089-AEB4-FEA4D095E4C8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3" creationId="{8920C81F-5506-96CD-4EB8-877FCF4906E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5" creationId="{1F4AD19A-5914-E315-6990-307333F2C9F5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6" creationId="{FF9B358F-DCC8-44F2-BDCD-1E04F706BD2F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57" creationId="{71B442AB-ECF3-73B1-55AA-1D425CA2FE66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58" creationId="{A2CF0B03-E5C4-94BC-C087-1A1449389D3B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59" creationId="{2EFDEEAA-4246-7A5A-18FF-E5C6106B9CA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1" creationId="{503A97CA-15E4-9805-48ED-B55BAA34CC5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2" creationId="{40BF02B5-A85E-B611-8D22-765F6FCC43E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3" creationId="{55B795B5-5E0B-BB4D-5788-10CD2C3571B0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4" creationId="{53CF443A-67EB-7687-B7C8-5046804CCA4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5" creationId="{1A6C7B9E-253E-2E81-7F00-CE0EBDF3461F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6" creationId="{4AD84B8D-6E9C-ACC6-17E5-6879AD6D33A1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7" creationId="{24B84D51-2B44-13E4-1478-59DBBDDB4258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68" creationId="{8B3EE298-1AAC-B18D-6CC4-23AFBB37D661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0" creationId="{50160775-37E2-ED0A-7AB8-C96770455AC6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1" creationId="{C255E1E2-ED85-F27F-4D21-09E0DCF798D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2" creationId="{7A6D046B-E6E3-38AB-13B0-623AD85E8562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3" creationId="{9A657C2F-6F40-85FF-0BB3-A88D5077E93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4" creationId="{4DB10313-A89E-927C-5A58-93AB58CB222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5" creationId="{48881A4D-086D-F61A-C841-A8A2A8B84BD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6" creationId="{461C8232-865D-48BC-4047-B05767E5D693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7" creationId="{7DDCD53D-9FEF-D601-D47F-A5AD077F452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79" creationId="{B0DC751E-1A80-7970-7B6A-86F81EDF2B9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80" creationId="{4C388164-94BB-7E90-6609-B83B2DCE9519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81" creationId="{24F96084-DF5C-6BC5-392B-923F3C7317C6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82" creationId="{4C53B8EA-7DD7-FE52-D04E-1F8DBB92201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83" creationId="{A3A1062B-B0A2-3AA7-07DE-A1F4BF929D3F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84" creationId="{45AA777F-8DDA-E86C-F781-8C74FD85E7B2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85" creationId="{1B545B62-B618-ED72-49E9-88DA05A844D9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86" creationId="{7C6A4874-938A-303F-A3C7-2B7C16257FEB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87" creationId="{FB1B5804-0078-A6DA-1643-A7884C6F04A9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88" creationId="{36A2123F-937D-AABA-8D67-3F18D4BB8CCD}"/>
          </ac:spMkLst>
        </pc:spChg>
        <pc:spChg chg="add mod">
          <ac:chgData name="Alannah Tran" userId="ca071bd6-a585-4695-914d-bc8a7ace8862" providerId="ADAL" clId="{47B8B89E-CE3F-43B5-BCA8-1E4B51C2B4FA}" dt="2023-07-03T06:23:34.068" v="213" actId="207"/>
          <ac:spMkLst>
            <pc:docMk/>
            <pc:sldMk cId="179364010" sldId="257"/>
            <ac:spMk id="94" creationId="{74A20140-1327-142D-543F-AA76D258AA9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96" creationId="{D00C335A-A29F-1474-6061-7AE68949E363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97" creationId="{905A216F-2A99-C380-43D9-C873AE00FAD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98" creationId="{303A9F4C-E1A8-CA00-2EE7-85C05AA4FDC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99" creationId="{FD4C243F-3288-988D-7F44-6B1625B4FA6A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0" creationId="{EA06286B-517A-80D5-8114-9C266DDB057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1" creationId="{E960DF16-936F-ADC2-2B7C-59F61CF8C38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2" creationId="{7E8622B4-F779-AFDA-8595-869F9B00D6D9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3" creationId="{AABBCAB5-CF53-9CA3-9779-5AFC08C63720}"/>
          </ac:spMkLst>
        </pc:spChg>
        <pc:spChg chg="add mod">
          <ac:chgData name="Alannah Tran" userId="ca071bd6-a585-4695-914d-bc8a7ace8862" providerId="ADAL" clId="{47B8B89E-CE3F-43B5-BCA8-1E4B51C2B4FA}" dt="2023-07-03T06:23:36.944" v="214" actId="207"/>
          <ac:spMkLst>
            <pc:docMk/>
            <pc:sldMk cId="179364010" sldId="257"/>
            <ac:spMk id="104" creationId="{887892B2-1F4F-7D33-07D8-FF71813B2A33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6" creationId="{B3F0C248-FF46-98E3-D1E6-6F0A56F3EBF1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7" creationId="{04362CE7-9276-F539-7446-4DEF45A2C87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8" creationId="{5713A93F-4897-EBDC-7CCC-510DECE6C5F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09" creationId="{21949597-9CE8-AB22-A786-A39057110CB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0" creationId="{35A6C10B-6A82-8AFC-82B0-0D7976A69B5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1" creationId="{AE288D4F-D972-7991-E178-D7960F698AC9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2" creationId="{7B24FA4E-8D73-5591-4A1F-55E450C6542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3" creationId="{BB95E2FD-6F38-1182-5CE5-E3E14688A565}"/>
          </ac:spMkLst>
        </pc:spChg>
        <pc:spChg chg="add mod">
          <ac:chgData name="Alannah Tran" userId="ca071bd6-a585-4695-914d-bc8a7ace8862" providerId="ADAL" clId="{47B8B89E-CE3F-43B5-BCA8-1E4B51C2B4FA}" dt="2023-07-03T06:23:39.936" v="215" actId="207"/>
          <ac:spMkLst>
            <pc:docMk/>
            <pc:sldMk cId="179364010" sldId="257"/>
            <ac:spMk id="114" creationId="{F3841327-5832-78C1-34FA-57785CAC6068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6" creationId="{39E5D8D3-CE87-AB0E-5AE3-52D6B94304E2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7" creationId="{1C0130E9-2E41-FC8D-CBF2-D93038592369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8" creationId="{0AB0F672-A423-8D75-51BA-A573982F3AA6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19" creationId="{24C515C7-4265-89B4-3579-357408A7E2D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0" creationId="{4E7E9F0F-C0B0-7D43-E6B7-AD12CDD66E98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1" creationId="{412EE595-987F-85BE-99EB-12F392B9B67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2" creationId="{E0979FFB-E05D-403E-04B4-778C609CC3E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3" creationId="{526B349A-6493-D08F-1934-64621EFFF440}"/>
          </ac:spMkLst>
        </pc:spChg>
        <pc:spChg chg="add mod">
          <ac:chgData name="Alannah Tran" userId="ca071bd6-a585-4695-914d-bc8a7ace8862" providerId="ADAL" clId="{47B8B89E-CE3F-43B5-BCA8-1E4B51C2B4FA}" dt="2023-07-03T06:23:30.965" v="212" actId="207"/>
          <ac:spMkLst>
            <pc:docMk/>
            <pc:sldMk cId="179364010" sldId="257"/>
            <ac:spMk id="124" creationId="{192489DA-2772-314A-3FBA-23B869DD9470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6" creationId="{35ADC3E7-1F19-8745-F2D8-5FC03492C2C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7" creationId="{83507024-9829-8A70-5BB3-2321880394C2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8" creationId="{F2282CD2-F0FE-CF0C-A6B4-B87AEF113768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29" creationId="{653A1CCF-E23B-AA24-3F63-D019B75878A5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30" creationId="{2940575C-DA44-578C-1487-4D09A3E36504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31" creationId="{733654AB-6964-A370-B465-A734583B26C0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32" creationId="{A44B1CD4-04C7-A23D-2C8F-CC59C40A23CF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33" creationId="{DFA19218-5A94-DD59-EDF4-E87BB460671C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35" creationId="{5E0B158F-12EA-B07E-CD30-FF2AFE696BEC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39" creationId="{E3EA4362-CE99-AAD4-86FC-C21CECB96984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0" creationId="{EFD40064-0A73-0A9F-88DB-DD39FF7FAEC1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1" creationId="{7CA2D851-73DC-B296-BD7B-9D1A297D706E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2" creationId="{59C18987-8009-1A25-36C8-1E926E7E9310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4" creationId="{90106D53-8CF0-7B57-C5AD-978866F0C071}"/>
          </ac:spMkLst>
        </pc:spChg>
        <pc:spChg chg="mod topLvl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5" creationId="{1E6A427B-F4D7-E3AB-2954-F9B201CDE47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6" creationId="{AA4E6557-2F69-C259-1429-83D457E98F1B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7" creationId="{BDC040CD-99CA-0765-D857-79696C892E69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8" creationId="{502FFF29-D8E3-1088-6B4C-A03DA7ACB71A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49" creationId="{0D316C36-49B5-5EC9-8AEC-1D9360FD6AC1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0" creationId="{AB4B2E57-3CBF-FE90-D280-7068CE8CFFDC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1" creationId="{93ECF67C-0531-4F10-D97F-FFC9F2CC1E5E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2" creationId="{E771BFC5-13DE-4995-0D36-16F83C6FEAAD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3" creationId="{88E7630C-F2D8-6000-E73C-FDF201AA05FC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4" creationId="{672A20C5-8D27-5EEC-0620-541AF19DE95F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5" creationId="{B7E7DB86-1CF2-7C30-437B-50BB0E83694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6" creationId="{363B8898-7C12-238C-1400-C48CB40799E1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7" creationId="{558E915A-0360-87A9-E317-C1C616A024D5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8" creationId="{6C31E542-487E-243C-F7A0-F9DE46DED497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59" creationId="{EB74D68B-BD32-0100-C823-C51370344ABF}"/>
          </ac:spMkLst>
        </pc:spChg>
        <pc:spChg chg="mod">
          <ac:chgData name="Alannah Tran" userId="ca071bd6-a585-4695-914d-bc8a7ace8862" providerId="ADAL" clId="{47B8B89E-CE3F-43B5-BCA8-1E4B51C2B4FA}" dt="2023-07-03T06:21:58.521" v="146" actId="1076"/>
          <ac:spMkLst>
            <pc:docMk/>
            <pc:sldMk cId="179364010" sldId="257"/>
            <ac:spMk id="160" creationId="{BC4CE802-83D9-8E4A-58EC-264E9EF7DCD9}"/>
          </ac:spMkLst>
        </pc:spChg>
        <pc:spChg chg="add del mod modVis">
          <ac:chgData name="Alannah Tran" userId="ca071bd6-a585-4695-914d-bc8a7ace8862" providerId="ADAL" clId="{47B8B89E-CE3F-43B5-BCA8-1E4B51C2B4FA}" dt="2023-07-03T06:19:25.816" v="63"/>
          <ac:spMkLst>
            <pc:docMk/>
            <pc:sldMk cId="179364010" sldId="257"/>
            <ac:spMk id="161" creationId="{0F7078BD-3226-56EE-8D31-AE2A467A6AC7}"/>
          </ac:spMkLst>
        </pc:spChg>
        <pc:spChg chg="add del mod modVis">
          <ac:chgData name="Alannah Tran" userId="ca071bd6-a585-4695-914d-bc8a7ace8862" providerId="ADAL" clId="{47B8B89E-CE3F-43B5-BCA8-1E4B51C2B4FA}" dt="2023-07-03T06:19:26.619" v="108"/>
          <ac:spMkLst>
            <pc:docMk/>
            <pc:sldMk cId="179364010" sldId="257"/>
            <ac:spMk id="162" creationId="{A959B88A-F326-C2FA-4EE1-4787EB3E69D7}"/>
          </ac:spMkLst>
        </pc:spChg>
        <pc:spChg chg="add mod">
          <ac:chgData name="Alannah Tran" userId="ca071bd6-a585-4695-914d-bc8a7ace8862" providerId="ADAL" clId="{47B8B89E-CE3F-43B5-BCA8-1E4B51C2B4FA}" dt="2023-07-03T06:22:16.730" v="149" actId="2711"/>
          <ac:spMkLst>
            <pc:docMk/>
            <pc:sldMk cId="179364010" sldId="257"/>
            <ac:spMk id="163" creationId="{B4C8255B-6BF9-1A80-3CC5-82B309FBFD7C}"/>
          </ac:spMkLst>
        </pc:spChg>
        <pc:spChg chg="add del mod modVis">
          <ac:chgData name="Alannah Tran" userId="ca071bd6-a585-4695-914d-bc8a7ace8862" providerId="ADAL" clId="{47B8B89E-CE3F-43B5-BCA8-1E4B51C2B4FA}" dt="2023-07-03T06:22:17.266" v="191"/>
          <ac:spMkLst>
            <pc:docMk/>
            <pc:sldMk cId="179364010" sldId="257"/>
            <ac:spMk id="165" creationId="{8DE18534-BAAA-1344-EFD9-32FE486131DB}"/>
          </ac:spMkLst>
        </pc:s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35" creationId="{9BDBC739-FB5B-A12C-C247-9B091149D95A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39" creationId="{5EBF317B-2891-82CE-3737-DCA8CF7C13D8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45" creationId="{E7BC119C-258F-1F92-5EE1-92FA2DEB3B2C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48" creationId="{C807AE68-8807-876C-FC3A-9F7C103B6D45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54" creationId="{1F899005-72D1-3469-5FEF-892E118161C3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60" creationId="{A244AA61-6FE0-A4D4-984B-F9E3B3F2822D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69" creationId="{945B745F-764B-3E09-D9F0-E0702C64E339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78" creationId="{247243E0-3DD8-C870-2D69-54FE0A91726E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89" creationId="{37AF091A-4E9A-C0AE-25CA-CD3F5298D00E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95" creationId="{965FD7C2-7115-9C79-E2D9-BDC72EA950CF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105" creationId="{201BB957-E265-857B-5B5F-A448EC9FA2E7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115" creationId="{E4479D95-3BBB-6227-20B9-A140F5FABB69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125" creationId="{19A2340C-4891-55A3-B093-C00275267FB0}"/>
          </ac:grpSpMkLst>
        </pc:grpChg>
        <pc:grpChg chg="add del mod">
          <ac:chgData name="Alannah Tran" userId="ca071bd6-a585-4695-914d-bc8a7ace8862" providerId="ADAL" clId="{47B8B89E-CE3F-43B5-BCA8-1E4B51C2B4FA}" dt="2023-07-03T06:21:09.062" v="135"/>
          <ac:grpSpMkLst>
            <pc:docMk/>
            <pc:sldMk cId="179364010" sldId="257"/>
            <ac:grpSpMk id="134" creationId="{7E16FB0D-FB1A-0081-3F6D-D688EC54988E}"/>
          </ac:grpSpMkLst>
        </pc:grpChg>
        <pc:grpChg chg="mod topLvl">
          <ac:chgData name="Alannah Tran" userId="ca071bd6-a585-4695-914d-bc8a7ace8862" providerId="ADAL" clId="{47B8B89E-CE3F-43B5-BCA8-1E4B51C2B4FA}" dt="2023-07-03T06:21:58.521" v="146" actId="1076"/>
          <ac:grpSpMkLst>
            <pc:docMk/>
            <pc:sldMk cId="179364010" sldId="257"/>
            <ac:grpSpMk id="136" creationId="{F808D20B-F99C-A909-3C36-946669F29ED4}"/>
          </ac:grpSpMkLst>
        </pc:grpChg>
        <pc:grpChg chg="mod topLvl">
          <ac:chgData name="Alannah Tran" userId="ca071bd6-a585-4695-914d-bc8a7ace8862" providerId="ADAL" clId="{47B8B89E-CE3F-43B5-BCA8-1E4B51C2B4FA}" dt="2023-07-03T06:21:58.521" v="146" actId="1076"/>
          <ac:grpSpMkLst>
            <pc:docMk/>
            <pc:sldMk cId="179364010" sldId="257"/>
            <ac:grpSpMk id="137" creationId="{77C3185A-7517-72D3-027B-064ED1D88BDE}"/>
          </ac:grpSpMkLst>
        </pc:grpChg>
        <pc:grpChg chg="mod topLvl">
          <ac:chgData name="Alannah Tran" userId="ca071bd6-a585-4695-914d-bc8a7ace8862" providerId="ADAL" clId="{47B8B89E-CE3F-43B5-BCA8-1E4B51C2B4FA}" dt="2023-07-03T06:21:58.521" v="146" actId="1076"/>
          <ac:grpSpMkLst>
            <pc:docMk/>
            <pc:sldMk cId="179364010" sldId="257"/>
            <ac:grpSpMk id="138" creationId="{9472D606-400A-F5AB-AEAA-EC4739D6DCC1}"/>
          </ac:grpSpMkLst>
        </pc:grpChg>
        <pc:grpChg chg="mod topLvl">
          <ac:chgData name="Alannah Tran" userId="ca071bd6-a585-4695-914d-bc8a7ace8862" providerId="ADAL" clId="{47B8B89E-CE3F-43B5-BCA8-1E4B51C2B4FA}" dt="2023-07-03T06:21:58.521" v="146" actId="1076"/>
          <ac:grpSpMkLst>
            <pc:docMk/>
            <pc:sldMk cId="179364010" sldId="257"/>
            <ac:grpSpMk id="143" creationId="{2E129C79-6BD0-5CED-B3C5-95E54A8A5EE3}"/>
          </ac:grpSpMkLst>
        </pc:grpChg>
        <pc:grpChg chg="add mod">
          <ac:chgData name="Alannah Tran" userId="ca071bd6-a585-4695-914d-bc8a7ace8862" providerId="ADAL" clId="{47B8B89E-CE3F-43B5-BCA8-1E4B51C2B4FA}" dt="2023-07-03T06:22:16.730" v="149" actId="2711"/>
          <ac:grpSpMkLst>
            <pc:docMk/>
            <pc:sldMk cId="179364010" sldId="257"/>
            <ac:grpSpMk id="164" creationId="{D28D12C3-3E00-4CF2-CB80-AE0AE3D81297}"/>
          </ac:grpSpMkLst>
        </pc:grpChg>
        <pc:graphicFrameChg chg="mod">
          <ac:chgData name="Alannah Tran" userId="ca071bd6-a585-4695-914d-bc8a7ace8862" providerId="ADAL" clId="{47B8B89E-CE3F-43B5-BCA8-1E4B51C2B4FA}" dt="2023-07-03T06:22:17.266" v="193"/>
          <ac:graphicFrameMkLst>
            <pc:docMk/>
            <pc:sldMk cId="179364010" sldId="257"/>
            <ac:graphicFrameMk id="12" creationId="{996997C0-ABCC-BBF3-12AD-0C7AC342FC67}"/>
          </ac:graphicFrameMkLst>
        </pc:graphicFrameChg>
        <pc:cxnChg chg="mod">
          <ac:chgData name="Alannah Tran" userId="ca071bd6-a585-4695-914d-bc8a7ace8862" providerId="ADAL" clId="{47B8B89E-CE3F-43B5-BCA8-1E4B51C2B4FA}" dt="2023-07-03T06:23:27.101" v="211" actId="692"/>
          <ac:cxnSpMkLst>
            <pc:docMk/>
            <pc:sldMk cId="179364010" sldId="257"/>
            <ac:cxnSpMk id="90" creationId="{7B5BB3B5-90C4-F411-743A-87B43A3F95A8}"/>
          </ac:cxnSpMkLst>
        </pc:cxnChg>
        <pc:cxnChg chg="mod">
          <ac:chgData name="Alannah Tran" userId="ca071bd6-a585-4695-914d-bc8a7ace8862" providerId="ADAL" clId="{47B8B89E-CE3F-43B5-BCA8-1E4B51C2B4FA}" dt="2023-07-03T06:23:27.101" v="211" actId="692"/>
          <ac:cxnSpMkLst>
            <pc:docMk/>
            <pc:sldMk cId="179364010" sldId="257"/>
            <ac:cxnSpMk id="91" creationId="{327705D3-1F9B-12B5-9C99-FF248496B709}"/>
          </ac:cxnSpMkLst>
        </pc:cxnChg>
        <pc:cxnChg chg="mod">
          <ac:chgData name="Alannah Tran" userId="ca071bd6-a585-4695-914d-bc8a7ace8862" providerId="ADAL" clId="{47B8B89E-CE3F-43B5-BCA8-1E4B51C2B4FA}" dt="2023-07-03T06:23:27.101" v="211" actId="692"/>
          <ac:cxnSpMkLst>
            <pc:docMk/>
            <pc:sldMk cId="179364010" sldId="257"/>
            <ac:cxnSpMk id="92" creationId="{121848FD-7798-B30C-CE2D-34E08CDEFDC0}"/>
          </ac:cxnSpMkLst>
        </pc:cxnChg>
        <pc:cxnChg chg="mod">
          <ac:chgData name="Alannah Tran" userId="ca071bd6-a585-4695-914d-bc8a7ace8862" providerId="ADAL" clId="{47B8B89E-CE3F-43B5-BCA8-1E4B51C2B4FA}" dt="2023-07-03T06:23:27.101" v="211" actId="692"/>
          <ac:cxnSpMkLst>
            <pc:docMk/>
            <pc:sldMk cId="179364010" sldId="257"/>
            <ac:cxnSpMk id="93" creationId="{50CE698A-6E38-ED00-509C-AEB7954747FA}"/>
          </ac:cxnSpMkLst>
        </pc:cxnChg>
      </pc:sldChg>
      <pc:sldMasterChg chg="addSp modSp del mod delSldLayout">
        <pc:chgData name="Alannah Tran" userId="ca071bd6-a585-4695-914d-bc8a7ace8862" providerId="ADAL" clId="{47B8B89E-CE3F-43B5-BCA8-1E4B51C2B4FA}" dt="2023-07-03T06:19:58.329" v="115" actId="47"/>
        <pc:sldMasterMkLst>
          <pc:docMk/>
          <pc:sldMasterMk cId="4068515473" sldId="2147483660"/>
        </pc:sldMasterMkLst>
        <pc:graphicFrameChg chg="add mod ord modVis replST">
          <ac:chgData name="Alannah Tran" userId="ca071bd6-a585-4695-914d-bc8a7ace8862" providerId="ADAL" clId="{47B8B89E-CE3F-43B5-BCA8-1E4B51C2B4FA}" dt="2023-07-03T06:19:25.816" v="61"/>
          <ac:graphicFrameMkLst>
            <pc:docMk/>
            <pc:sldMasterMk cId="4068515473" sldId="2147483660"/>
            <ac:graphicFrameMk id="3" creationId="{B9A4DC17-66F6-7D45-9FF3-534B9ACBC9FC}"/>
          </ac:graphicFrameMkLst>
        </pc:graphicFrame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4154757639" sldId="2147483661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3718232454" sldId="2147483662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1421984860" sldId="2147483663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3839293487" sldId="2147483664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1821426990" sldId="2147483665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156930857" sldId="2147483666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242461701" sldId="2147483667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1171427381" sldId="2147483668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1933419831" sldId="2147483669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2944876198" sldId="2147483670"/>
          </pc:sldLayoutMkLst>
        </pc:sldLayoutChg>
        <pc:sldLayoutChg chg="del">
          <pc:chgData name="Alannah Tran" userId="ca071bd6-a585-4695-914d-bc8a7ace8862" providerId="ADAL" clId="{47B8B89E-CE3F-43B5-BCA8-1E4B51C2B4FA}" dt="2023-07-03T06:19:58.329" v="115" actId="47"/>
          <pc:sldLayoutMkLst>
            <pc:docMk/>
            <pc:sldMasterMk cId="4068515473" sldId="2147483660"/>
            <pc:sldLayoutMk cId="3295901113" sldId="2147483671"/>
          </pc:sldLayoutMkLst>
        </pc:sldLayoutChg>
      </pc:sldMasterChg>
    </pc:docChg>
  </pc:docChgLst>
  <pc:docChgLst>
    <pc:chgData name="Alannah Tran" userId="ca071bd6-a585-4695-914d-bc8a7ace8862" providerId="ADAL" clId="{15448F90-C4CB-417D-A1DE-0BEDB82C3F78}"/>
    <pc:docChg chg="modSld">
      <pc:chgData name="Alannah Tran" userId="ca071bd6-a585-4695-914d-bc8a7ace8862" providerId="ADAL" clId="{15448F90-C4CB-417D-A1DE-0BEDB82C3F78}" dt="2023-07-18T04:28:59.955" v="3" actId="14100"/>
      <pc:docMkLst>
        <pc:docMk/>
      </pc:docMkLst>
      <pc:sldChg chg="modSp mod">
        <pc:chgData name="Alannah Tran" userId="ca071bd6-a585-4695-914d-bc8a7ace8862" providerId="ADAL" clId="{15448F90-C4CB-417D-A1DE-0BEDB82C3F78}" dt="2023-07-18T04:28:59.955" v="3" actId="14100"/>
        <pc:sldMkLst>
          <pc:docMk/>
          <pc:sldMk cId="179364010" sldId="257"/>
        </pc:sldMkLst>
        <pc:spChg chg="mod">
          <ac:chgData name="Alannah Tran" userId="ca071bd6-a585-4695-914d-bc8a7ace8862" providerId="ADAL" clId="{15448F90-C4CB-417D-A1DE-0BEDB82C3F78}" dt="2023-07-18T04:28:55.244" v="2" actId="255"/>
          <ac:spMkLst>
            <pc:docMk/>
            <pc:sldMk cId="179364010" sldId="257"/>
            <ac:spMk id="140" creationId="{EFD40064-0A73-0A9F-88DB-DD39FF7FAEC1}"/>
          </ac:spMkLst>
        </pc:spChg>
        <pc:spChg chg="mod">
          <ac:chgData name="Alannah Tran" userId="ca071bd6-a585-4695-914d-bc8a7ace8862" providerId="ADAL" clId="{15448F90-C4CB-417D-A1DE-0BEDB82C3F78}" dt="2023-07-18T04:28:55.244" v="2" actId="255"/>
          <ac:spMkLst>
            <pc:docMk/>
            <pc:sldMk cId="179364010" sldId="257"/>
            <ac:spMk id="141" creationId="{7CA2D851-73DC-B296-BD7B-9D1A297D706E}"/>
          </ac:spMkLst>
        </pc:spChg>
        <pc:spChg chg="mod">
          <ac:chgData name="Alannah Tran" userId="ca071bd6-a585-4695-914d-bc8a7ace8862" providerId="ADAL" clId="{15448F90-C4CB-417D-A1DE-0BEDB82C3F78}" dt="2023-07-18T04:28:59.955" v="3" actId="14100"/>
          <ac:spMkLst>
            <pc:docMk/>
            <pc:sldMk cId="179364010" sldId="257"/>
            <ac:spMk id="142" creationId="{59C18987-8009-1A25-36C8-1E926E7E9310}"/>
          </ac:spMkLst>
        </pc:spChg>
        <pc:spChg chg="mod">
          <ac:chgData name="Alannah Tran" userId="ca071bd6-a585-4695-914d-bc8a7ace8862" providerId="ADAL" clId="{15448F90-C4CB-417D-A1DE-0BEDB82C3F78}" dt="2023-07-18T04:28:55.244" v="2" actId="255"/>
          <ac:spMkLst>
            <pc:docMk/>
            <pc:sldMk cId="179364010" sldId="257"/>
            <ac:spMk id="144" creationId="{90106D53-8CF0-7B57-C5AD-978866F0C071}"/>
          </ac:spMkLst>
        </pc:spChg>
        <pc:spChg chg="mod">
          <ac:chgData name="Alannah Tran" userId="ca071bd6-a585-4695-914d-bc8a7ace8862" providerId="ADAL" clId="{15448F90-C4CB-417D-A1DE-0BEDB82C3F78}" dt="2023-07-18T04:28:55.244" v="2" actId="255"/>
          <ac:spMkLst>
            <pc:docMk/>
            <pc:sldMk cId="179364010" sldId="257"/>
            <ac:spMk id="145" creationId="{1E6A427B-F4D7-E3AB-2954-F9B201CDE477}"/>
          </ac:spMkLst>
        </pc:spChg>
        <pc:spChg chg="mod">
          <ac:chgData name="Alannah Tran" userId="ca071bd6-a585-4695-914d-bc8a7ace8862" providerId="ADAL" clId="{15448F90-C4CB-417D-A1DE-0BEDB82C3F78}" dt="2023-07-17T07:12:48.649" v="0" actId="114"/>
          <ac:spMkLst>
            <pc:docMk/>
            <pc:sldMk cId="179364010" sldId="257"/>
            <ac:spMk id="163" creationId="{B4C8255B-6BF9-1A80-3CC5-82B309FBFD7C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8F1505-58BD-8D89-BAFD-46D28C627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402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8F1505-58BD-8D89-BAFD-46D28C627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15537C9B-4C25-A668-540C-915BC5DCFBDF}"/>
              </a:ext>
            </a:extLst>
          </p:cNvPr>
          <p:cNvSpPr/>
          <p:nvPr userDrawn="1"/>
        </p:nvSpPr>
        <p:spPr>
          <a:xfrm>
            <a:off x="0" y="2461966"/>
            <a:ext cx="10699395" cy="4400882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DD9C57-C900-FB86-2C43-875E69AA3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5E74D0-2044-8BDA-EA8E-0C5A69005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8DD7BC2-4298-2530-CB9E-B3B21FD37D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6AA8BCE-511F-1556-14D4-2884B2E45DD0}"/>
              </a:ext>
            </a:extLst>
          </p:cNvPr>
          <p:cNvSpPr/>
          <p:nvPr userDrawn="1"/>
        </p:nvSpPr>
        <p:spPr>
          <a:xfrm>
            <a:off x="5418083" y="4372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6B539416-25CC-C2D3-72E7-4C65BD51B5A1}"/>
              </a:ext>
            </a:extLst>
          </p:cNvPr>
          <p:cNvSpPr/>
          <p:nvPr userDrawn="1"/>
        </p:nvSpPr>
        <p:spPr>
          <a:xfrm>
            <a:off x="6017270" y="2466725"/>
            <a:ext cx="1201788" cy="1197229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AE37A05A-1CA9-47EB-3D17-768B91E48B21}"/>
              </a:ext>
            </a:extLst>
          </p:cNvPr>
          <p:cNvSpPr/>
          <p:nvPr userDrawn="1"/>
        </p:nvSpPr>
        <p:spPr>
          <a:xfrm>
            <a:off x="4820678" y="2466725"/>
            <a:ext cx="1793997" cy="1197229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6A384F39-0A4B-B0FD-E107-CEA489180716}"/>
              </a:ext>
            </a:extLst>
          </p:cNvPr>
          <p:cNvSpPr/>
          <p:nvPr userDrawn="1"/>
        </p:nvSpPr>
        <p:spPr>
          <a:xfrm>
            <a:off x="7467941" y="5342481"/>
            <a:ext cx="2285375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3A422AEC-8593-2ABB-3C00-C4F91727399C}"/>
              </a:ext>
            </a:extLst>
          </p:cNvPr>
          <p:cNvSpPr/>
          <p:nvPr userDrawn="1"/>
        </p:nvSpPr>
        <p:spPr>
          <a:xfrm>
            <a:off x="6483849" y="5338110"/>
            <a:ext cx="2510052" cy="1954176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AC33B5E6-8F3D-5E3E-7D9A-EAFBCDBAC63A}"/>
              </a:ext>
            </a:extLst>
          </p:cNvPr>
          <p:cNvSpPr/>
          <p:nvPr userDrawn="1"/>
        </p:nvSpPr>
        <p:spPr>
          <a:xfrm>
            <a:off x="6700954" y="5338110"/>
            <a:ext cx="1526405" cy="1523273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54C5F44E-C5F1-3D65-009F-DB234152592E}"/>
              </a:ext>
            </a:extLst>
          </p:cNvPr>
          <p:cNvSpPr/>
          <p:nvPr userDrawn="1"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224B4F1-853F-0203-EE31-DF5D42CD7C16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5CB1A71F-769E-D0CB-FA51-63EAE73B574F}"/>
              </a:ext>
            </a:extLst>
          </p:cNvPr>
          <p:cNvSpPr/>
          <p:nvPr userDrawn="1"/>
        </p:nvSpPr>
        <p:spPr>
          <a:xfrm>
            <a:off x="7467943" y="5338110"/>
            <a:ext cx="2285375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76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B3F9F954-4071-0FCB-A8F6-174F333AE253}"/>
              </a:ext>
            </a:extLst>
          </p:cNvPr>
          <p:cNvSpPr/>
          <p:nvPr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rgbClr val="00B1A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7B6F0F54-9CE1-47BC-8BB5-F63D9769A8E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9926BE-0D9D-4400-A90E-88C8BB726B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6FDE619-A8FC-4AAE-B02B-476D7475B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2DD25AD8-4B3B-5469-2A0A-638B094781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33286" y="693804"/>
            <a:ext cx="1035472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D4E0CD83-95C3-6463-68B5-540D5EFFF7B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5327" y="693803"/>
            <a:ext cx="1035472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1058DF6-0B4D-4561-F410-CF4A6EC5587F}"/>
              </a:ext>
            </a:extLst>
          </p:cNvPr>
          <p:cNvSpPr/>
          <p:nvPr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rgbClr val="53565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83821572-8A3F-6B76-EC63-FFFF39B4D8E2}"/>
              </a:ext>
            </a:extLst>
          </p:cNvPr>
          <p:cNvSpPr/>
          <p:nvPr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7147DF2A-84C9-29DC-6E61-6969EC837D59}"/>
              </a:ext>
            </a:extLst>
          </p:cNvPr>
          <p:cNvSpPr/>
          <p:nvPr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BD8D172D-4A33-0DD4-E56D-113639EAFAE9}"/>
              </a:ext>
            </a:extLst>
          </p:cNvPr>
          <p:cNvSpPr/>
          <p:nvPr/>
        </p:nvSpPr>
        <p:spPr>
          <a:xfrm>
            <a:off x="375554" y="6857741"/>
            <a:ext cx="10319530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4E22A3CD-7A86-3297-24D4-607873FB419F}"/>
              </a:ext>
            </a:extLst>
          </p:cNvPr>
          <p:cNvSpPr/>
          <p:nvPr/>
        </p:nvSpPr>
        <p:spPr>
          <a:xfrm>
            <a:off x="372287" y="-4064"/>
            <a:ext cx="10319530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45E7C8D-18CE-D16D-EBFC-B55D24729C2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7664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430465A8-B110-5F4A-EF48-43014E78D4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6711808D-4AD1-4428-129E-131055EC5C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6E9CC3-6786-46BB-D73B-768CE7C9405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AE132-488B-C489-A635-15025EFDB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0FF2009-CFB8-CF28-3413-0B4284833D97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698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-form: Shape 3">
            <a:extLst>
              <a:ext uri="{FF2B5EF4-FFF2-40B4-BE49-F238E27FC236}">
                <a16:creationId xmlns:a16="http://schemas.microsoft.com/office/drawing/2014/main" id="{88179413-F21E-6F8B-5621-FD6158E128DD}"/>
              </a:ext>
            </a:extLst>
          </p:cNvPr>
          <p:cNvSpPr/>
          <p:nvPr userDrawn="1"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9494BD2-F017-377F-E9DC-49A72415A2B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325ACC-A39B-5A9C-08D1-4350B6146F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33286" y="693804"/>
            <a:ext cx="1035472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DAFE03-848B-544C-E0CD-10F5B6562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15327" y="693803"/>
            <a:ext cx="1035472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761D47B5-1DCF-DEA5-AD5A-A87DBB4A210B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42C733FE-249E-F4B6-97A5-9BDCDC7F587F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92D11F13-254D-EE69-56CC-3A9083BCD90B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23DDCEF-71FC-3732-8A04-4455123CB7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97664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5BB121C-7A8C-12E6-80A7-C9F5E00829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441" dirty="0">
                <a:noFill/>
              </a:defRPr>
            </a:lvl1pPr>
            <a:lvl2pPr>
              <a:defRPr lang="en-US" sz="441" dirty="0">
                <a:noFill/>
              </a:defRPr>
            </a:lvl2pPr>
            <a:lvl3pPr>
              <a:defRPr lang="en-US" sz="441" dirty="0">
                <a:noFill/>
              </a:defRPr>
            </a:lvl3pPr>
            <a:lvl4pPr>
              <a:defRPr lang="en-US" sz="441" dirty="0">
                <a:noFill/>
              </a:defRPr>
            </a:lvl4pPr>
            <a:lvl5pPr>
              <a:defRPr lang="en-US" sz="441" dirty="0">
                <a:noFill/>
              </a:defRPr>
            </a:lvl5pPr>
            <a:lvl6pPr>
              <a:defRPr lang="en-US" sz="441" dirty="0">
                <a:noFill/>
              </a:defRPr>
            </a:lvl6pPr>
            <a:lvl7pPr>
              <a:defRPr lang="en-US" sz="441" dirty="0">
                <a:noFill/>
              </a:defRPr>
            </a:lvl7pPr>
            <a:lvl8pPr>
              <a:defRPr lang="en-US" sz="441" dirty="0">
                <a:noFill/>
              </a:defRPr>
            </a:lvl8pPr>
            <a:lvl9pPr>
              <a:defRPr lang="en-AU" sz="441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DD6E17-2BA5-2E07-079F-711BDFC647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D48F861-7E55-A416-6C10-E8F443B181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3" name="Title 10">
            <a:extLst>
              <a:ext uri="{FF2B5EF4-FFF2-40B4-BE49-F238E27FC236}">
                <a16:creationId xmlns:a16="http://schemas.microsoft.com/office/drawing/2014/main" id="{11278E5F-8266-8988-9BC9-75792091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53C4647-9866-8687-AC61-706DD630E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CA80ADE-153B-89EB-C45C-110A3EAD8DEA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62144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A0C810F8-DFAB-09FF-9C62-9FCB8ECA197D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" y="693805"/>
            <a:ext cx="10688401" cy="61640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84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230822B-F962-DB00-EE97-E4256C54DA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33286" y="693804"/>
            <a:ext cx="1035472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82D5331-408D-EF45-7B7C-C5B7E1DA757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5327" y="693803"/>
            <a:ext cx="1035472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A3A3D436-8180-38F3-59D6-0BA3DD774A4D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1BC3F22-BF2C-9936-4961-258371143F9B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2315349F-5DCB-7C77-ADF4-93BBD78D466D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1407844C-B43F-E7F1-25BB-730A42F8C798}"/>
              </a:ext>
            </a:extLst>
          </p:cNvPr>
          <p:cNvSpPr/>
          <p:nvPr userDrawn="1"/>
        </p:nvSpPr>
        <p:spPr>
          <a:xfrm>
            <a:off x="372287" y="-4064"/>
            <a:ext cx="10319530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44498DC-53F4-4976-1118-A8506276F4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7664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78D3637-7058-A75F-A9AF-CA3F50EE0F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441" dirty="0">
                <a:noFill/>
              </a:defRPr>
            </a:lvl1pPr>
            <a:lvl2pPr>
              <a:defRPr lang="en-US" sz="441" dirty="0">
                <a:noFill/>
              </a:defRPr>
            </a:lvl2pPr>
            <a:lvl3pPr>
              <a:defRPr lang="en-US" sz="441" dirty="0">
                <a:noFill/>
              </a:defRPr>
            </a:lvl3pPr>
            <a:lvl4pPr>
              <a:defRPr lang="en-US" sz="441" dirty="0">
                <a:noFill/>
              </a:defRPr>
            </a:lvl4pPr>
            <a:lvl5pPr>
              <a:defRPr lang="en-US" sz="441" dirty="0">
                <a:noFill/>
              </a:defRPr>
            </a:lvl5pPr>
            <a:lvl6pPr>
              <a:defRPr lang="en-US" sz="441" dirty="0">
                <a:noFill/>
              </a:defRPr>
            </a:lvl6pPr>
            <a:lvl7pPr>
              <a:defRPr lang="en-US" sz="441" dirty="0">
                <a:noFill/>
              </a:defRPr>
            </a:lvl7pPr>
            <a:lvl8pPr>
              <a:defRPr lang="en-US" sz="441" dirty="0">
                <a:noFill/>
              </a:defRPr>
            </a:lvl8pPr>
            <a:lvl9pPr>
              <a:defRPr lang="en-AU" sz="441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837DE7F-B0A0-98EB-E050-22BBFBCCB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24349991-AE8C-CA92-BF55-D82BA54DBCB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693804"/>
            <a:ext cx="7033137" cy="6163375"/>
          </a:xfrm>
          <a:custGeom>
            <a:avLst/>
            <a:gdLst>
              <a:gd name="connsiteX0" fmla="*/ 0 w 6014977"/>
              <a:gd name="connsiteY0" fmla="*/ 0 h 5591302"/>
              <a:gd name="connsiteX1" fmla="*/ 6014977 w 6014977"/>
              <a:gd name="connsiteY1" fmla="*/ 0 h 5591302"/>
              <a:gd name="connsiteX2" fmla="*/ 3371137 w 6014977"/>
              <a:gd name="connsiteY2" fmla="*/ 5591302 h 5591302"/>
              <a:gd name="connsiteX3" fmla="*/ 0 w 6014977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4977" h="5591302">
                <a:moveTo>
                  <a:pt x="0" y="0"/>
                </a:moveTo>
                <a:lnTo>
                  <a:pt x="6014977" y="0"/>
                </a:lnTo>
                <a:lnTo>
                  <a:pt x="3371137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A6F139C8-B6EF-5B84-13D9-F8ADEBD2F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3082BF0-ED0B-5BEB-3CD5-ED3CAB19DA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EE8CEF-2A9A-A284-2ECE-73C5016C2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814517-E33B-AFFF-52E3-DE0C61785E9A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969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1984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6515327" y="693803"/>
            <a:ext cx="1553431" cy="1032317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5997663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D344425-4162-E229-2E19-2924591FF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7E5F0D0-1852-1373-EF05-D7B4A6041F22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013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1984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6515327" y="693803"/>
            <a:ext cx="1553431" cy="1032317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5997663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B3127AF-A3C2-5832-887E-D39B11574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FDF05C-52EC-6D95-72CD-C8B91309F21D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779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EF600E-A836-4665-A50B-E5BE4AD54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2443BB-7A97-7B56-A32E-631D8CD62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26E1DD-AD4E-67B7-C4F6-D1DB9008D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844A66-C3CA-7B88-CD33-C6D0CC2B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3670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9A80C0-65A9-BC7C-D22E-85EE44CC7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9D7BD5-0C96-0A6E-631D-DD3B95D28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379D0F-B6EB-9705-927B-79B513BAC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8772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61B08C00-0226-56F5-FDD7-5FA0EF3DB3D2}"/>
              </a:ext>
            </a:extLst>
          </p:cNvPr>
          <p:cNvSpPr/>
          <p:nvPr/>
        </p:nvSpPr>
        <p:spPr>
          <a:xfrm>
            <a:off x="1" y="2462353"/>
            <a:ext cx="10699395" cy="4400882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53565A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1F1CE9E1-B56A-8EC2-7642-3210B9EB7C8C}"/>
              </a:ext>
            </a:extLst>
          </p:cNvPr>
          <p:cNvSpPr/>
          <p:nvPr/>
        </p:nvSpPr>
        <p:spPr>
          <a:xfrm>
            <a:off x="5418084" y="0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DCC001F1-4860-1CC5-8CBC-225BC0A9D236}"/>
              </a:ext>
            </a:extLst>
          </p:cNvPr>
          <p:cNvSpPr/>
          <p:nvPr/>
        </p:nvSpPr>
        <p:spPr>
          <a:xfrm>
            <a:off x="6017272" y="2462353"/>
            <a:ext cx="1201788" cy="1197229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5B08A13-0E33-5FD8-469F-81F11D14C908}"/>
              </a:ext>
            </a:extLst>
          </p:cNvPr>
          <p:cNvSpPr/>
          <p:nvPr/>
        </p:nvSpPr>
        <p:spPr>
          <a:xfrm>
            <a:off x="4820679" y="2462353"/>
            <a:ext cx="1793997" cy="1197229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E9193096-0970-2A9D-D1E9-19E1B557CC8D}"/>
              </a:ext>
            </a:extLst>
          </p:cNvPr>
          <p:cNvSpPr/>
          <p:nvPr/>
        </p:nvSpPr>
        <p:spPr>
          <a:xfrm>
            <a:off x="6483849" y="5338110"/>
            <a:ext cx="2510052" cy="1954176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F401E06B-775A-30BB-3913-21352C520CFE}"/>
              </a:ext>
            </a:extLst>
          </p:cNvPr>
          <p:cNvSpPr/>
          <p:nvPr/>
        </p:nvSpPr>
        <p:spPr>
          <a:xfrm>
            <a:off x="6700954" y="5338110"/>
            <a:ext cx="1526405" cy="1523273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4A622ED0-B24F-3B6E-F173-57D708F0907F}"/>
              </a:ext>
            </a:extLst>
          </p:cNvPr>
          <p:cNvSpPr/>
          <p:nvPr/>
        </p:nvSpPr>
        <p:spPr>
          <a:xfrm>
            <a:off x="7467943" y="5338110"/>
            <a:ext cx="2285375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08AA25C4-22B1-CB03-84BA-7BD988A74B2E}"/>
              </a:ext>
            </a:extLst>
          </p:cNvPr>
          <p:cNvSpPr/>
          <p:nvPr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1028729-A80B-CFBD-7F6F-30AE340985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033E79D6-E595-ECEE-10ED-A5E97240E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EB24A637-B2FA-CB5F-8581-6598E9C59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F89C6-5D9B-55DA-9539-83F396DFFBA1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124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13DD76C-B0DF-5844-46E8-ACA7008494DC}"/>
              </a:ext>
            </a:extLst>
          </p:cNvPr>
          <p:cNvSpPr/>
          <p:nvPr userDrawn="1"/>
        </p:nvSpPr>
        <p:spPr>
          <a:xfrm>
            <a:off x="5418084" y="0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2DCABD5A-B67F-F174-BA18-01F969DC1B68}"/>
              </a:ext>
            </a:extLst>
          </p:cNvPr>
          <p:cNvSpPr/>
          <p:nvPr/>
        </p:nvSpPr>
        <p:spPr>
          <a:xfrm>
            <a:off x="4814261" y="2462353"/>
            <a:ext cx="5877551" cy="4400883"/>
          </a:xfrm>
          <a:custGeom>
            <a:avLst/>
            <a:gdLst>
              <a:gd name="connsiteX0" fmla="*/ 0 w 5026680"/>
              <a:gd name="connsiteY0" fmla="*/ 0 h 3992401"/>
              <a:gd name="connsiteX1" fmla="*/ 5026680 w 5026680"/>
              <a:gd name="connsiteY1" fmla="*/ 0 h 3992401"/>
              <a:gd name="connsiteX2" fmla="*/ 5026680 w 5026680"/>
              <a:gd name="connsiteY2" fmla="*/ 3992401 h 3992401"/>
              <a:gd name="connsiteX3" fmla="*/ 2920561 w 5026680"/>
              <a:gd name="connsiteY3" fmla="*/ 3992401 h 3992401"/>
              <a:gd name="connsiteX4" fmla="*/ 1025695 w 5026680"/>
              <a:gd name="connsiteY4" fmla="*/ 10950 h 3992401"/>
              <a:gd name="connsiteX5" fmla="*/ 4897 w 5026680"/>
              <a:gd name="connsiteY5" fmla="*/ 10820 h 3992401"/>
              <a:gd name="connsiteX6" fmla="*/ 0 w 5026680"/>
              <a:gd name="connsiteY6" fmla="*/ 0 h 399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26680" h="3992401">
                <a:moveTo>
                  <a:pt x="0" y="0"/>
                </a:moveTo>
                <a:lnTo>
                  <a:pt x="5026680" y="0"/>
                </a:lnTo>
                <a:lnTo>
                  <a:pt x="5026680" y="3992401"/>
                </a:lnTo>
                <a:lnTo>
                  <a:pt x="2920561" y="3992401"/>
                </a:lnTo>
                <a:lnTo>
                  <a:pt x="1025695" y="10950"/>
                </a:lnTo>
                <a:lnTo>
                  <a:pt x="4897" y="108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4757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5B925039-3386-9DB3-1F58-4C26FF27836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" y="2462353"/>
            <a:ext cx="8234781" cy="4400617"/>
          </a:xfrm>
          <a:custGeom>
            <a:avLst/>
            <a:gdLst>
              <a:gd name="connsiteX0" fmla="*/ 0 w 7042663"/>
              <a:gd name="connsiteY0" fmla="*/ 0 h 3992160"/>
              <a:gd name="connsiteX1" fmla="*/ 5143014 w 7042663"/>
              <a:gd name="connsiteY1" fmla="*/ 658 h 3992160"/>
              <a:gd name="connsiteX2" fmla="*/ 7042663 w 7042663"/>
              <a:gd name="connsiteY2" fmla="*/ 3992160 h 3992160"/>
              <a:gd name="connsiteX3" fmla="*/ 0 w 7042663"/>
              <a:gd name="connsiteY3" fmla="*/ 3992160 h 399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2663" h="3992160">
                <a:moveTo>
                  <a:pt x="0" y="0"/>
                </a:moveTo>
                <a:lnTo>
                  <a:pt x="5143014" y="658"/>
                </a:lnTo>
                <a:lnTo>
                  <a:pt x="7042663" y="3992160"/>
                </a:lnTo>
                <a:lnTo>
                  <a:pt x="0" y="399216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04000" tIns="288000" rIns="3600000" bIns="360000" anchor="t" anchorCtr="0">
            <a:noAutofit/>
          </a:bodyPr>
          <a:lstStyle>
            <a:lvl1pPr algn="l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8BBBDA6-519A-05D0-4F6B-24B47AD172E0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CF85D78-FC0B-F4EA-1EF4-C857106FD948}"/>
              </a:ext>
            </a:extLst>
          </p:cNvPr>
          <p:cNvSpPr/>
          <p:nvPr userDrawn="1"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F67C86E-C469-E935-8F6B-B956C4B55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4EB4A5-D3CA-B552-1419-ADCF6DC9E32A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6700954" y="5338110"/>
            <a:ext cx="1526405" cy="1523275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6351E1D-0587-2E7B-55B8-06B2E8737F98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7467943" y="5338109"/>
            <a:ext cx="1526544" cy="152384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2C71BA1-4727-3A94-C697-2772234AF9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0679" y="2462353"/>
            <a:ext cx="1793997" cy="1197229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D8F58367-9BE9-C43F-398C-868E3E4B9FF4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418084" y="2462353"/>
            <a:ext cx="1203008" cy="1198437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8FE88D8-DD84-A127-C179-33FF11FEAF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67941" y="5338110"/>
            <a:ext cx="2285375" cy="1523275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3FD0863A-B744-BA87-F617-4BBA1966EEB8}"/>
              </a:ext>
            </a:extLst>
          </p:cNvPr>
          <p:cNvSpPr/>
          <p:nvPr userDrawn="1"/>
        </p:nvSpPr>
        <p:spPr>
          <a:xfrm>
            <a:off x="6016052" y="2462353"/>
            <a:ext cx="1203008" cy="1198437"/>
          </a:xfrm>
          <a:custGeom>
            <a:avLst/>
            <a:gdLst>
              <a:gd name="connsiteX0" fmla="*/ 0 w 1028853"/>
              <a:gd name="connsiteY0" fmla="*/ 0 h 1087200"/>
              <a:gd name="connsiteX1" fmla="*/ 1028853 w 1028853"/>
              <a:gd name="connsiteY1" fmla="*/ 0 h 1087200"/>
              <a:gd name="connsiteX2" fmla="*/ 511439 w 1028853"/>
              <a:gd name="connsiteY2" fmla="*/ 1087200 h 1087200"/>
              <a:gd name="connsiteX3" fmla="*/ 0 w 1028853"/>
              <a:gd name="connsiteY3" fmla="*/ 0 h 108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8853" h="1087200">
                <a:moveTo>
                  <a:pt x="0" y="0"/>
                </a:moveTo>
                <a:lnTo>
                  <a:pt x="1028853" y="0"/>
                </a:lnTo>
                <a:lnTo>
                  <a:pt x="511439" y="1087200"/>
                </a:lnTo>
                <a:cubicBezTo>
                  <a:pt x="511439" y="1087200"/>
                  <a:pt x="0" y="0"/>
                  <a:pt x="0" y="0"/>
                </a:cubicBezTo>
                <a:close/>
              </a:path>
            </a:pathLst>
          </a:custGeom>
          <a:solidFill>
            <a:srgbClr val="CEDC00">
              <a:alpha val="66000"/>
            </a:srgbClr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3B780439-4CEB-319E-36A6-2245E0E90D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2E50E5-2AB4-40F8-DB59-DD28CB45376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269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660CC324-D8B6-FA03-A350-EA9CC846ABF1}"/>
              </a:ext>
            </a:extLst>
          </p:cNvPr>
          <p:cNvSpPr/>
          <p:nvPr userDrawn="1"/>
        </p:nvSpPr>
        <p:spPr>
          <a:xfrm>
            <a:off x="5418084" y="0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B41F336-5118-C5C9-E8E5-6A5CCDE66F5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2461966"/>
            <a:ext cx="10700397" cy="440088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504000" tIns="288000" rIns="5760000" bIns="360000" anchor="t" anchorCtr="0">
            <a:noAutofit/>
          </a:bodyPr>
          <a:lstStyle>
            <a:lvl1pPr algn="l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E872F9-2264-1A70-83DD-6A9D9E266E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AE11B7-4DF9-5F56-C639-44F49C6B67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E7A27014-865C-F1D4-CAF7-08476B875D17}"/>
              </a:ext>
            </a:extLst>
          </p:cNvPr>
          <p:cNvSpPr/>
          <p:nvPr userDrawn="1"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A7A3D40-02AD-DBB9-335F-21278C945676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>
            <a:extLst>
              <a:ext uri="{FF2B5EF4-FFF2-40B4-BE49-F238E27FC236}">
                <a16:creationId xmlns:a16="http://schemas.microsoft.com/office/drawing/2014/main" id="{3D3D7C47-BE68-07DE-DF7D-956176BFA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CFB86533-F1A5-7166-E415-5B35F9186D90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6700954" y="5338110"/>
            <a:ext cx="1526405" cy="1523275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8EBBF75-4777-D465-98BA-F612C441DE8E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7467943" y="5338109"/>
            <a:ext cx="1526544" cy="152384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797021D-985E-0973-26CF-15DF51748122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6016052" y="2461966"/>
            <a:ext cx="1203008" cy="1198437"/>
          </a:xfrm>
          <a:custGeom>
            <a:avLst/>
            <a:gdLst>
              <a:gd name="connsiteX0" fmla="*/ 0 w 1661668"/>
              <a:gd name="connsiteY0" fmla="*/ 0 h 1755902"/>
              <a:gd name="connsiteX1" fmla="*/ 1661668 w 1661668"/>
              <a:gd name="connsiteY1" fmla="*/ 0 h 1755902"/>
              <a:gd name="connsiteX2" fmla="*/ 826009 w 1661668"/>
              <a:gd name="connsiteY2" fmla="*/ 1755902 h 1755902"/>
              <a:gd name="connsiteX3" fmla="*/ 0 w 1661668"/>
              <a:gd name="connsiteY3" fmla="*/ 0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1668" h="1755902">
                <a:moveTo>
                  <a:pt x="0" y="0"/>
                </a:moveTo>
                <a:lnTo>
                  <a:pt x="1661668" y="0"/>
                </a:lnTo>
                <a:lnTo>
                  <a:pt x="826009" y="1755902"/>
                </a:lnTo>
                <a:cubicBezTo>
                  <a:pt x="826009" y="1755902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B2E7923-7ED8-1CD8-94BA-243F169D2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20679" y="2461966"/>
            <a:ext cx="1793997" cy="1197229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022B79C5-62BF-CA09-6885-DE822CF41B7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418084" y="2461966"/>
            <a:ext cx="1203008" cy="1198437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599D0EC-660D-FC34-6C21-DA20DC3AEAB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467941" y="5338110"/>
            <a:ext cx="2285375" cy="1523275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4511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F60952-EFEB-073A-2890-058D4ABDF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96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F60952-EFEB-073A-2890-058D4ABDF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8001" y="2012413"/>
            <a:ext cx="8208282" cy="4365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, or click on one of the central icons to add a table, chart, SmartArt, image or media. Press the ‘Increase/Decrease’ button under the Home tab to move through the text styles.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2321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68001" y="2012413"/>
            <a:ext cx="3788438" cy="4365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his slide can be used for two text boxes, or text and: chart, SmartArt, image or table.</a:t>
            </a:r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87845" y="2012413"/>
            <a:ext cx="3788438" cy="4365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7A1DEDE-6AEA-86E9-4E33-2C1EA515B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2334-F3BF-4941-B066-A9089F7890EF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BBABFD-F4F5-2DE9-E006-D11D24911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07799FD-E5BC-A43F-4E9E-C3BC17F3C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0458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8001" y="2607662"/>
            <a:ext cx="8208282" cy="37699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elect one of the central icons to add a table, chart, SmartArt, image or media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105EC4C-205A-AE42-AC77-45023A8CB0A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95440ED-8C89-4301-B204-2D326E26EA6F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B0CA08-E061-255E-37AD-C77C63384A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310BF31-A4C3-377B-AEC6-33F3A1A29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2EE1AF-A60C-0DAE-29BA-0F1D2FBF76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001" y="1805399"/>
            <a:ext cx="8208282" cy="5952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10415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DFAE338-542F-062A-113E-84D5DEAC9297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665175" y="1580922"/>
            <a:ext cx="5020260" cy="5281729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252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399DAD4-A874-4EAB-AB3C-820568E6E7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000" y="2012413"/>
            <a:ext cx="6945469" cy="4365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00" y="423804"/>
            <a:ext cx="6945469" cy="7936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49C342-B9AA-BE4C-DBA6-A414FD6F66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99417" y="4302722"/>
            <a:ext cx="1286018" cy="2559928"/>
          </a:xfrm>
          <a:custGeom>
            <a:avLst/>
            <a:gdLst>
              <a:gd name="connsiteX0" fmla="*/ 1099846 w 1099846"/>
              <a:gd name="connsiteY0" fmla="*/ 0 h 2322320"/>
              <a:gd name="connsiteX1" fmla="*/ 1099846 w 1099846"/>
              <a:gd name="connsiteY1" fmla="*/ 2322320 h 2322320"/>
              <a:gd name="connsiteX2" fmla="*/ 0 w 1099846"/>
              <a:gd name="connsiteY2" fmla="*/ 2322320 h 232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9846" h="2322320">
                <a:moveTo>
                  <a:pt x="1099846" y="0"/>
                </a:moveTo>
                <a:lnTo>
                  <a:pt x="1099846" y="2322320"/>
                </a:lnTo>
                <a:lnTo>
                  <a:pt x="0" y="232232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F698BA25-4BD0-67D4-7C71-C0E01B8EC81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0A0E56-D0C5-4B3E-813B-A90A31A1DAA6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9C50C287-886F-8EE0-566B-F65B7FD7A5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ECB20DFD-4DFE-0F76-52E2-4F336B547E1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004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4F04595-8F0F-9159-49EE-2EF24C129E8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580922"/>
            <a:ext cx="10691813" cy="527134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48000" tIns="288000" rIns="4320000" bIns="360000" anchor="t" anchorCtr="0">
            <a:noAutofit/>
          </a:bodyPr>
          <a:lstStyle>
            <a:lvl1pPr algn="l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01" y="423804"/>
            <a:ext cx="4419844" cy="7936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9D1A89-6D04-E6B7-642A-FC4A5D65F2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C048CFF-D5A4-4BED-AD1A-14E8D2CBA798}" type="datetime1">
              <a:rPr lang="en-GB" smtClean="0"/>
              <a:pPr/>
              <a:t>31/07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0ACF10-A8A1-158D-77C0-F1470495E0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DED0C4-FEDA-7F07-651E-81D65BEE7C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C391D5-CDF7-2EA7-BE15-53AD611FD5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65175" y="1580922"/>
            <a:ext cx="5020260" cy="5281729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05857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AD34C0-2B69-0CD4-3E46-603BBC6C5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00056736"/>
              </p:ext>
            </p:extLst>
          </p:nvPr>
        </p:nvGraphicFramePr>
        <p:xfrm>
          <a:off x="1857" y="1751"/>
          <a:ext cx="1857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28" imgH="328" progId="TCLayout.ActiveDocument.1">
                  <p:embed/>
                </p:oleObj>
              </mc:Choice>
              <mc:Fallback>
                <p:oleObj name="think-cell Slide" r:id="rId19" imgW="328" imgH="32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AD34C0-2B69-0CD4-3E46-603BBC6C5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857" y="1751"/>
                        <a:ext cx="1857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DEE5F1F6-308B-BAE5-E04C-67ACD64873A7}"/>
              </a:ext>
            </a:extLst>
          </p:cNvPr>
          <p:cNvSpPr/>
          <p:nvPr userDrawn="1"/>
        </p:nvSpPr>
        <p:spPr>
          <a:xfrm>
            <a:off x="0" y="0"/>
            <a:ext cx="10691813" cy="1587333"/>
          </a:xfrm>
          <a:custGeom>
            <a:avLst/>
            <a:gdLst>
              <a:gd name="connsiteX0" fmla="*/ 0 w 12192000"/>
              <a:gd name="connsiteY0" fmla="*/ 0 h 1270000"/>
              <a:gd name="connsiteX1" fmla="*/ 12192000 w 12192000"/>
              <a:gd name="connsiteY1" fmla="*/ 0 h 1270000"/>
              <a:gd name="connsiteX2" fmla="*/ 12192000 w 12192000"/>
              <a:gd name="connsiteY2" fmla="*/ 1270000 h 1270000"/>
              <a:gd name="connsiteX3" fmla="*/ 0 w 12192000"/>
              <a:gd name="connsiteY3" fmla="*/ 1270000 h 12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270000">
                <a:moveTo>
                  <a:pt x="0" y="0"/>
                </a:moveTo>
                <a:lnTo>
                  <a:pt x="12192000" y="0"/>
                </a:lnTo>
                <a:lnTo>
                  <a:pt x="12192000" y="1270000"/>
                </a:lnTo>
                <a:lnTo>
                  <a:pt x="0" y="1270000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F69CC5-725A-DC9C-EE57-E4195036E597}"/>
              </a:ext>
            </a:extLst>
          </p:cNvPr>
          <p:cNvGrpSpPr/>
          <p:nvPr userDrawn="1"/>
        </p:nvGrpSpPr>
        <p:grpSpPr>
          <a:xfrm>
            <a:off x="8321427" y="0"/>
            <a:ext cx="2370387" cy="1587333"/>
            <a:chOff x="7792497" y="1"/>
            <a:chExt cx="1351502" cy="1269998"/>
          </a:xfrm>
        </p:grpSpPr>
        <p:sp>
          <p:nvSpPr>
            <p:cNvPr id="39" name="Free-form: Shape 38">
              <a:extLst>
                <a:ext uri="{FF2B5EF4-FFF2-40B4-BE49-F238E27FC236}">
                  <a16:creationId xmlns:a16="http://schemas.microsoft.com/office/drawing/2014/main" id="{ACD74EFB-1EB2-C902-2EB7-7A5AC47A3130}"/>
                </a:ext>
              </a:extLst>
            </p:cNvPr>
            <p:cNvSpPr/>
            <p:nvPr userDrawn="1"/>
          </p:nvSpPr>
          <p:spPr>
            <a:xfrm>
              <a:off x="7792497" y="600837"/>
              <a:ext cx="712232" cy="669162"/>
            </a:xfrm>
            <a:custGeom>
              <a:avLst/>
              <a:gdLst>
                <a:gd name="connsiteX0" fmla="*/ 316547 w 949642"/>
                <a:gd name="connsiteY0" fmla="*/ 0 h 669162"/>
                <a:gd name="connsiteX1" fmla="*/ 0 w 949642"/>
                <a:gd name="connsiteY1" fmla="*/ 669163 h 669162"/>
                <a:gd name="connsiteX2" fmla="*/ 633095 w 949642"/>
                <a:gd name="connsiteY2" fmla="*/ 669163 h 669162"/>
                <a:gd name="connsiteX3" fmla="*/ 949643 w 949642"/>
                <a:gd name="connsiteY3" fmla="*/ 0 h 669162"/>
                <a:gd name="connsiteX4" fmla="*/ 316547 w 949642"/>
                <a:gd name="connsiteY4" fmla="*/ 0 h 6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42" h="669162">
                  <a:moveTo>
                    <a:pt x="316547" y="0"/>
                  </a:moveTo>
                  <a:lnTo>
                    <a:pt x="0" y="669163"/>
                  </a:lnTo>
                  <a:lnTo>
                    <a:pt x="633095" y="669163"/>
                  </a:lnTo>
                  <a:cubicBezTo>
                    <a:pt x="633095" y="669163"/>
                    <a:pt x="949643" y="0"/>
                    <a:pt x="949643" y="0"/>
                  </a:cubicBezTo>
                  <a:lnTo>
                    <a:pt x="316547" y="0"/>
                  </a:lnTo>
                  <a:close/>
                </a:path>
              </a:pathLst>
            </a:custGeom>
            <a:solidFill>
              <a:srgbClr val="00B1A8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  <p:sp>
          <p:nvSpPr>
            <p:cNvPr id="40" name="Free-form: Shape 39">
              <a:extLst>
                <a:ext uri="{FF2B5EF4-FFF2-40B4-BE49-F238E27FC236}">
                  <a16:creationId xmlns:a16="http://schemas.microsoft.com/office/drawing/2014/main" id="{E7241B76-7122-AE56-0EFB-6DFFD069ADBB}"/>
                </a:ext>
              </a:extLst>
            </p:cNvPr>
            <p:cNvSpPr/>
            <p:nvPr userDrawn="1"/>
          </p:nvSpPr>
          <p:spPr>
            <a:xfrm>
              <a:off x="8504777" y="1"/>
              <a:ext cx="639222" cy="600837"/>
            </a:xfrm>
            <a:custGeom>
              <a:avLst/>
              <a:gdLst>
                <a:gd name="connsiteX0" fmla="*/ 568198 w 852296"/>
                <a:gd name="connsiteY0" fmla="*/ 600837 h 600837"/>
                <a:gd name="connsiteX1" fmla="*/ 852297 w 852296"/>
                <a:gd name="connsiteY1" fmla="*/ 0 h 600837"/>
                <a:gd name="connsiteX2" fmla="*/ 284099 w 852296"/>
                <a:gd name="connsiteY2" fmla="*/ 0 h 600837"/>
                <a:gd name="connsiteX3" fmla="*/ 0 w 852296"/>
                <a:gd name="connsiteY3" fmla="*/ 600837 h 600837"/>
                <a:gd name="connsiteX4" fmla="*/ 568198 w 852296"/>
                <a:gd name="connsiteY4" fmla="*/ 600837 h 60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296" h="600837">
                  <a:moveTo>
                    <a:pt x="568198" y="600837"/>
                  </a:moveTo>
                  <a:lnTo>
                    <a:pt x="852297" y="0"/>
                  </a:lnTo>
                  <a:lnTo>
                    <a:pt x="284099" y="0"/>
                  </a:lnTo>
                  <a:cubicBezTo>
                    <a:pt x="284099" y="0"/>
                    <a:pt x="0" y="600837"/>
                    <a:pt x="0" y="600837"/>
                  </a:cubicBezTo>
                  <a:lnTo>
                    <a:pt x="568198" y="600837"/>
                  </a:lnTo>
                  <a:close/>
                </a:path>
              </a:pathLst>
            </a:custGeom>
            <a:solidFill>
              <a:srgbClr val="CDDB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  <p:sp>
          <p:nvSpPr>
            <p:cNvPr id="41" name="Free-form: Shape 40">
              <a:extLst>
                <a:ext uri="{FF2B5EF4-FFF2-40B4-BE49-F238E27FC236}">
                  <a16:creationId xmlns:a16="http://schemas.microsoft.com/office/drawing/2014/main" id="{1AB8811A-2AF9-3D1A-7290-BC7B6EA26CFE}"/>
                </a:ext>
              </a:extLst>
            </p:cNvPr>
            <p:cNvSpPr/>
            <p:nvPr userDrawn="1"/>
          </p:nvSpPr>
          <p:spPr>
            <a:xfrm>
              <a:off x="8291703" y="1"/>
              <a:ext cx="639222" cy="600837"/>
            </a:xfrm>
            <a:custGeom>
              <a:avLst/>
              <a:gdLst>
                <a:gd name="connsiteX0" fmla="*/ 852297 w 852296"/>
                <a:gd name="connsiteY0" fmla="*/ 600837 h 600837"/>
                <a:gd name="connsiteX1" fmla="*/ 568198 w 852296"/>
                <a:gd name="connsiteY1" fmla="*/ 0 h 600837"/>
                <a:gd name="connsiteX2" fmla="*/ 0 w 852296"/>
                <a:gd name="connsiteY2" fmla="*/ 0 h 600837"/>
                <a:gd name="connsiteX3" fmla="*/ 284099 w 852296"/>
                <a:gd name="connsiteY3" fmla="*/ 600837 h 600837"/>
                <a:gd name="connsiteX4" fmla="*/ 852297 w 852296"/>
                <a:gd name="connsiteY4" fmla="*/ 600837 h 60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296" h="600837">
                  <a:moveTo>
                    <a:pt x="852297" y="600837"/>
                  </a:moveTo>
                  <a:lnTo>
                    <a:pt x="568198" y="0"/>
                  </a:lnTo>
                  <a:lnTo>
                    <a:pt x="0" y="0"/>
                  </a:lnTo>
                  <a:cubicBezTo>
                    <a:pt x="0" y="0"/>
                    <a:pt x="284099" y="600837"/>
                    <a:pt x="284099" y="600837"/>
                  </a:cubicBezTo>
                  <a:lnTo>
                    <a:pt x="852297" y="600837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  <p:sp>
          <p:nvSpPr>
            <p:cNvPr id="42" name="Free-form: Shape 41">
              <a:extLst>
                <a:ext uri="{FF2B5EF4-FFF2-40B4-BE49-F238E27FC236}">
                  <a16:creationId xmlns:a16="http://schemas.microsoft.com/office/drawing/2014/main" id="{F88C237B-3642-81D4-58BC-F75C75257471}"/>
                </a:ext>
              </a:extLst>
            </p:cNvPr>
            <p:cNvSpPr/>
            <p:nvPr userDrawn="1"/>
          </p:nvSpPr>
          <p:spPr>
            <a:xfrm>
              <a:off x="8029908" y="600837"/>
              <a:ext cx="712232" cy="669162"/>
            </a:xfrm>
            <a:custGeom>
              <a:avLst/>
              <a:gdLst>
                <a:gd name="connsiteX0" fmla="*/ 0 w 949642"/>
                <a:gd name="connsiteY0" fmla="*/ 0 h 669162"/>
                <a:gd name="connsiteX1" fmla="*/ 316548 w 949642"/>
                <a:gd name="connsiteY1" fmla="*/ 669163 h 669162"/>
                <a:gd name="connsiteX2" fmla="*/ 949643 w 949642"/>
                <a:gd name="connsiteY2" fmla="*/ 669163 h 669162"/>
                <a:gd name="connsiteX3" fmla="*/ 633095 w 949642"/>
                <a:gd name="connsiteY3" fmla="*/ 0 h 669162"/>
                <a:gd name="connsiteX4" fmla="*/ 0 w 949642"/>
                <a:gd name="connsiteY4" fmla="*/ 0 h 6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42" h="669162">
                  <a:moveTo>
                    <a:pt x="0" y="0"/>
                  </a:moveTo>
                  <a:lnTo>
                    <a:pt x="316548" y="669163"/>
                  </a:lnTo>
                  <a:lnTo>
                    <a:pt x="949643" y="669163"/>
                  </a:lnTo>
                  <a:cubicBezTo>
                    <a:pt x="949643" y="669163"/>
                    <a:pt x="633095" y="0"/>
                    <a:pt x="63309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09982" y="7004053"/>
            <a:ext cx="2266302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2">
                <a:solidFill>
                  <a:schemeClr val="accent6"/>
                </a:solidFill>
              </a:defRPr>
            </a:lvl1pPr>
          </a:lstStyle>
          <a:p>
            <a:fld id="{973D4877-A18C-4E62-9946-F942ED83388C}" type="datetime1">
              <a:rPr lang="en-GB" smtClean="0"/>
              <a:pPr/>
              <a:t>31/07/2023</a:t>
            </a:fld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8002" y="423804"/>
            <a:ext cx="7576875" cy="7936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000" y="2012413"/>
            <a:ext cx="9429000" cy="43651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8001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MSIPCMContentMarking" descr="{&quot;HashCode&quot;:-1264680268,&quot;Placement&quot;:&quot;Footer&quot;,&quot;Top&quot;:516.65155,&quot;Left&quot;:326.046448,&quot;SlideWidth&quot;:720,&quot;SlideHeight&quot;:540}">
            <a:extLst>
              <a:ext uri="{FF2B5EF4-FFF2-40B4-BE49-F238E27FC236}">
                <a16:creationId xmlns:a16="http://schemas.microsoft.com/office/drawing/2014/main" id="{C1CB3AF3-4B80-E700-28DB-DCCFCACEA543}"/>
              </a:ext>
            </a:extLst>
          </p:cNvPr>
          <p:cNvSpPr txBox="1"/>
          <p:nvPr userDrawn="1"/>
        </p:nvSpPr>
        <p:spPr>
          <a:xfrm>
            <a:off x="4841706" y="7294451"/>
            <a:ext cx="1008401" cy="20358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AU" sz="1323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983921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hf hdr="0" dt="0"/>
  <p:txStyles>
    <p:titleStyle>
      <a:lvl1pPr algn="l" defTabSz="1007943" rtl="0" eaLnBrk="1" latinLnBrk="0" hangingPunct="1">
        <a:lnSpc>
          <a:spcPct val="100000"/>
        </a:lnSpc>
        <a:spcBef>
          <a:spcPct val="0"/>
        </a:spcBef>
        <a:buNone/>
        <a:defRPr sz="2535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b="1" kern="1200">
          <a:solidFill>
            <a:schemeClr val="accent6"/>
          </a:solidFill>
          <a:latin typeface="+mn-lt"/>
          <a:ea typeface="+mn-ea"/>
          <a:cs typeface="+mn-cs"/>
        </a:defRPr>
      </a:lvl1pPr>
      <a:lvl2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accent6"/>
          </a:solidFill>
          <a:latin typeface="+mn-lt"/>
          <a:ea typeface="+mn-ea"/>
          <a:cs typeface="+mn-cs"/>
        </a:defRPr>
      </a:lvl2pPr>
      <a:lvl3pPr marL="198414" indent="-198414" algn="l" defTabSz="1007943" rtl="0" eaLnBrk="1" latinLnBrk="0" hangingPunct="1">
        <a:lnSpc>
          <a:spcPct val="100000"/>
        </a:lnSpc>
        <a:spcBef>
          <a:spcPts val="661"/>
        </a:spcBef>
        <a:buClr>
          <a:schemeClr val="accent3"/>
        </a:buClr>
        <a:buFont typeface="Arial" panose="020B0604020202020204" pitchFamily="34" charset="0"/>
        <a:buChar char="•"/>
        <a:defRPr sz="1984" kern="1200">
          <a:solidFill>
            <a:schemeClr val="accent6"/>
          </a:solidFill>
          <a:latin typeface="+mn-lt"/>
          <a:ea typeface="+mn-ea"/>
          <a:cs typeface="+mn-cs"/>
        </a:defRPr>
      </a:lvl3pPr>
      <a:lvl4pPr marL="396828" indent="-198414" algn="l" defTabSz="1007943" rtl="0" eaLnBrk="1" latinLnBrk="0" hangingPunct="1">
        <a:lnSpc>
          <a:spcPct val="100000"/>
        </a:lnSpc>
        <a:spcBef>
          <a:spcPts val="1323"/>
        </a:spcBef>
        <a:spcAft>
          <a:spcPts val="1323"/>
        </a:spcAft>
        <a:buClr>
          <a:schemeClr val="accent2"/>
        </a:buClr>
        <a:buFont typeface="Arial" panose="020B0604020202020204" pitchFamily="34" charset="0"/>
        <a:buChar char="•"/>
        <a:defRPr sz="1984" b="0" i="0" kern="1200">
          <a:solidFill>
            <a:schemeClr val="accent6"/>
          </a:solidFill>
          <a:latin typeface="+mn-lt"/>
          <a:ea typeface="+mn-ea"/>
          <a:cs typeface="+mn-cs"/>
        </a:defRPr>
      </a:lvl4pPr>
      <a:lvl5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543" b="1" kern="1200">
          <a:solidFill>
            <a:schemeClr val="accent6"/>
          </a:solidFill>
          <a:latin typeface="+mn-lt"/>
          <a:ea typeface="+mn-ea"/>
          <a:cs typeface="+mn-cs"/>
        </a:defRPr>
      </a:lvl5pPr>
      <a:lvl6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543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6997C0-ABCC-BBF3-12AD-0C7AC342FC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398657"/>
              </p:ext>
            </p:extLst>
          </p:nvPr>
        </p:nvGraphicFramePr>
        <p:xfrm>
          <a:off x="307873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6997C0-ABCC-BBF3-12AD-0C7AC342FC6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7873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C23A05B-338A-E882-D37C-C09A4BEA8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>
                <a:latin typeface="+mn-lt"/>
              </a:rPr>
              <a:t>RFI PROCESS MAP</a:t>
            </a:r>
          </a:p>
        </p:txBody>
      </p:sp>
      <p:sp>
        <p:nvSpPr>
          <p:cNvPr id="4" name="Rectangle: Rounded Corners 90">
            <a:extLst>
              <a:ext uri="{FF2B5EF4-FFF2-40B4-BE49-F238E27FC236}">
                <a16:creationId xmlns:a16="http://schemas.microsoft.com/office/drawing/2014/main" id="{378023CB-1BCB-2983-B85F-48614D8FF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92942" y="2337627"/>
            <a:ext cx="6650788" cy="1739028"/>
          </a:xfrm>
          <a:custGeom>
            <a:avLst/>
            <a:gdLst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0 w 9361485"/>
              <a:gd name="connsiteY7" fmla="*/ 105262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91440 w 9361485"/>
              <a:gd name="connsiteY7" fmla="*/ 114406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0 w 8308862"/>
              <a:gd name="connsiteY5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0 w 8308862"/>
              <a:gd name="connsiteY5" fmla="*/ 2101402 h 210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08862" h="2105246">
                <a:moveTo>
                  <a:pt x="0" y="0"/>
                </a:moveTo>
                <a:lnTo>
                  <a:pt x="7256239" y="0"/>
                </a:lnTo>
                <a:cubicBezTo>
                  <a:pt x="7837587" y="0"/>
                  <a:pt x="8308862" y="471275"/>
                  <a:pt x="8308862" y="1052623"/>
                </a:cubicBezTo>
                <a:lnTo>
                  <a:pt x="8308862" y="1052623"/>
                </a:lnTo>
                <a:cubicBezTo>
                  <a:pt x="8308862" y="1633971"/>
                  <a:pt x="7837587" y="2105246"/>
                  <a:pt x="7256239" y="2105246"/>
                </a:cubicBezTo>
                <a:lnTo>
                  <a:pt x="0" y="2101402"/>
                </a:lnTo>
              </a:path>
            </a:pathLst>
          </a:custGeom>
          <a:solidFill>
            <a:srgbClr val="FFFFFF">
              <a:alpha val="0"/>
            </a:srgbClr>
          </a:solidFill>
          <a:ln w="1936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: Rounded Corners 90">
            <a:extLst>
              <a:ext uri="{FF2B5EF4-FFF2-40B4-BE49-F238E27FC236}">
                <a16:creationId xmlns:a16="http://schemas.microsoft.com/office/drawing/2014/main" id="{FDD8D4B6-22A1-F171-8AA3-B7C4DEB4EB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374027" y="4072661"/>
            <a:ext cx="6397309" cy="2026374"/>
          </a:xfrm>
          <a:custGeom>
            <a:avLst/>
            <a:gdLst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0 w 9361485"/>
              <a:gd name="connsiteY7" fmla="*/ 105262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91440 w 9361485"/>
              <a:gd name="connsiteY7" fmla="*/ 114406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0 w 8308862"/>
              <a:gd name="connsiteY5" fmla="*/ 2105246 h 2105246"/>
              <a:gd name="connsiteX0" fmla="*/ 786361 w 9095223"/>
              <a:gd name="connsiteY0" fmla="*/ 0 h 2105246"/>
              <a:gd name="connsiteX1" fmla="*/ 8042600 w 9095223"/>
              <a:gd name="connsiteY1" fmla="*/ 0 h 2105246"/>
              <a:gd name="connsiteX2" fmla="*/ 9095223 w 9095223"/>
              <a:gd name="connsiteY2" fmla="*/ 1052623 h 2105246"/>
              <a:gd name="connsiteX3" fmla="*/ 9095223 w 9095223"/>
              <a:gd name="connsiteY3" fmla="*/ 1052623 h 2105246"/>
              <a:gd name="connsiteX4" fmla="*/ 8042600 w 9095223"/>
              <a:gd name="connsiteY4" fmla="*/ 2105246 h 2105246"/>
              <a:gd name="connsiteX5" fmla="*/ 0 w 9095223"/>
              <a:gd name="connsiteY5" fmla="*/ 2105246 h 2105246"/>
              <a:gd name="connsiteX0" fmla="*/ 1192307 w 9501169"/>
              <a:gd name="connsiteY0" fmla="*/ 0 h 2105246"/>
              <a:gd name="connsiteX1" fmla="*/ 8448546 w 9501169"/>
              <a:gd name="connsiteY1" fmla="*/ 0 h 2105246"/>
              <a:gd name="connsiteX2" fmla="*/ 9501169 w 9501169"/>
              <a:gd name="connsiteY2" fmla="*/ 1052623 h 2105246"/>
              <a:gd name="connsiteX3" fmla="*/ 9501169 w 9501169"/>
              <a:gd name="connsiteY3" fmla="*/ 1052623 h 2105246"/>
              <a:gd name="connsiteX4" fmla="*/ 8448546 w 9501169"/>
              <a:gd name="connsiteY4" fmla="*/ 2105246 h 2105246"/>
              <a:gd name="connsiteX5" fmla="*/ 0 w 9501169"/>
              <a:gd name="connsiteY5" fmla="*/ 2105246 h 2105246"/>
              <a:gd name="connsiteX0" fmla="*/ 870614 w 9179476"/>
              <a:gd name="connsiteY0" fmla="*/ 0 h 2105246"/>
              <a:gd name="connsiteX1" fmla="*/ 8126853 w 9179476"/>
              <a:gd name="connsiteY1" fmla="*/ 0 h 2105246"/>
              <a:gd name="connsiteX2" fmla="*/ 9179476 w 9179476"/>
              <a:gd name="connsiteY2" fmla="*/ 1052623 h 2105246"/>
              <a:gd name="connsiteX3" fmla="*/ 9179476 w 9179476"/>
              <a:gd name="connsiteY3" fmla="*/ 1052623 h 2105246"/>
              <a:gd name="connsiteX4" fmla="*/ 8126853 w 9179476"/>
              <a:gd name="connsiteY4" fmla="*/ 2105246 h 2105246"/>
              <a:gd name="connsiteX5" fmla="*/ 0 w 9179476"/>
              <a:gd name="connsiteY5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20827 w 8308862"/>
              <a:gd name="connsiteY5" fmla="*/ 2105246 h 2105246"/>
              <a:gd name="connsiteX0" fmla="*/ 1255048 w 8288035"/>
              <a:gd name="connsiteY0" fmla="*/ 0 h 2105246"/>
              <a:gd name="connsiteX1" fmla="*/ 7235412 w 8288035"/>
              <a:gd name="connsiteY1" fmla="*/ 0 h 2105246"/>
              <a:gd name="connsiteX2" fmla="*/ 8288035 w 8288035"/>
              <a:gd name="connsiteY2" fmla="*/ 1052623 h 2105246"/>
              <a:gd name="connsiteX3" fmla="*/ 8288035 w 8288035"/>
              <a:gd name="connsiteY3" fmla="*/ 1052623 h 2105246"/>
              <a:gd name="connsiteX4" fmla="*/ 7235412 w 8288035"/>
              <a:gd name="connsiteY4" fmla="*/ 2105246 h 2105246"/>
              <a:gd name="connsiteX5" fmla="*/ 0 w 8288035"/>
              <a:gd name="connsiteY5" fmla="*/ 2105246 h 2105246"/>
              <a:gd name="connsiteX0" fmla="*/ 1271763 w 8288035"/>
              <a:gd name="connsiteY0" fmla="*/ 0 h 2105246"/>
              <a:gd name="connsiteX1" fmla="*/ 7235412 w 8288035"/>
              <a:gd name="connsiteY1" fmla="*/ 0 h 2105246"/>
              <a:gd name="connsiteX2" fmla="*/ 8288035 w 8288035"/>
              <a:gd name="connsiteY2" fmla="*/ 1052623 h 2105246"/>
              <a:gd name="connsiteX3" fmla="*/ 8288035 w 8288035"/>
              <a:gd name="connsiteY3" fmla="*/ 1052623 h 2105246"/>
              <a:gd name="connsiteX4" fmla="*/ 7235412 w 8288035"/>
              <a:gd name="connsiteY4" fmla="*/ 2105246 h 2105246"/>
              <a:gd name="connsiteX5" fmla="*/ 0 w 8288035"/>
              <a:gd name="connsiteY5" fmla="*/ 2105246 h 2105246"/>
              <a:gd name="connsiteX0" fmla="*/ 62746 w 7079018"/>
              <a:gd name="connsiteY0" fmla="*/ 0 h 2105246"/>
              <a:gd name="connsiteX1" fmla="*/ 6026395 w 7079018"/>
              <a:gd name="connsiteY1" fmla="*/ 0 h 2105246"/>
              <a:gd name="connsiteX2" fmla="*/ 7079018 w 7079018"/>
              <a:gd name="connsiteY2" fmla="*/ 1052623 h 2105246"/>
              <a:gd name="connsiteX3" fmla="*/ 7079018 w 7079018"/>
              <a:gd name="connsiteY3" fmla="*/ 1052623 h 2105246"/>
              <a:gd name="connsiteX4" fmla="*/ 6026395 w 7079018"/>
              <a:gd name="connsiteY4" fmla="*/ 2105246 h 2105246"/>
              <a:gd name="connsiteX5" fmla="*/ 0 w 7079018"/>
              <a:gd name="connsiteY5" fmla="*/ 2099968 h 2105246"/>
              <a:gd name="connsiteX0" fmla="*/ 57174 w 7073446"/>
              <a:gd name="connsiteY0" fmla="*/ 0 h 2105246"/>
              <a:gd name="connsiteX1" fmla="*/ 6020823 w 7073446"/>
              <a:gd name="connsiteY1" fmla="*/ 0 h 2105246"/>
              <a:gd name="connsiteX2" fmla="*/ 7073446 w 7073446"/>
              <a:gd name="connsiteY2" fmla="*/ 1052623 h 2105246"/>
              <a:gd name="connsiteX3" fmla="*/ 7073446 w 7073446"/>
              <a:gd name="connsiteY3" fmla="*/ 1052623 h 2105246"/>
              <a:gd name="connsiteX4" fmla="*/ 6020823 w 7073446"/>
              <a:gd name="connsiteY4" fmla="*/ 2105246 h 2105246"/>
              <a:gd name="connsiteX5" fmla="*/ 0 w 7073446"/>
              <a:gd name="connsiteY5" fmla="*/ 2105246 h 2105246"/>
              <a:gd name="connsiteX0" fmla="*/ 0 w 7016272"/>
              <a:gd name="connsiteY0" fmla="*/ 0 h 2105246"/>
              <a:gd name="connsiteX1" fmla="*/ 5963649 w 7016272"/>
              <a:gd name="connsiteY1" fmla="*/ 0 h 2105246"/>
              <a:gd name="connsiteX2" fmla="*/ 7016272 w 7016272"/>
              <a:gd name="connsiteY2" fmla="*/ 1052623 h 2105246"/>
              <a:gd name="connsiteX3" fmla="*/ 7016272 w 7016272"/>
              <a:gd name="connsiteY3" fmla="*/ 1052623 h 2105246"/>
              <a:gd name="connsiteX4" fmla="*/ 5963649 w 7016272"/>
              <a:gd name="connsiteY4" fmla="*/ 2105246 h 2105246"/>
              <a:gd name="connsiteX5" fmla="*/ 277117 w 7016272"/>
              <a:gd name="connsiteY5" fmla="*/ 2105246 h 210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16272" h="2105246">
                <a:moveTo>
                  <a:pt x="0" y="0"/>
                </a:moveTo>
                <a:lnTo>
                  <a:pt x="5963649" y="0"/>
                </a:lnTo>
                <a:cubicBezTo>
                  <a:pt x="6544997" y="0"/>
                  <a:pt x="7016272" y="471275"/>
                  <a:pt x="7016272" y="1052623"/>
                </a:cubicBezTo>
                <a:lnTo>
                  <a:pt x="7016272" y="1052623"/>
                </a:lnTo>
                <a:cubicBezTo>
                  <a:pt x="7016272" y="1633971"/>
                  <a:pt x="6544997" y="2105246"/>
                  <a:pt x="5963649" y="2105246"/>
                </a:cubicBezTo>
                <a:lnTo>
                  <a:pt x="277117" y="2105246"/>
                </a:lnTo>
              </a:path>
            </a:pathLst>
          </a:custGeom>
          <a:solidFill>
            <a:srgbClr val="FFFFFF">
              <a:alpha val="0"/>
            </a:srgbClr>
          </a:solidFill>
          <a:ln w="1936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C9D86DE-5B3C-AF52-3B5C-53B89AA9E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78750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A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C137A72-DBB2-D106-DA91-4ECED7EEF0DA}"/>
              </a:ext>
            </a:extLst>
          </p:cNvPr>
          <p:cNvSpPr/>
          <p:nvPr/>
        </p:nvSpPr>
        <p:spPr>
          <a:xfrm>
            <a:off x="760886" y="1735613"/>
            <a:ext cx="1699034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Lodged &amp; checked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within one business day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26F24E-BE49-04A0-D6B9-21213D8B6BFD}"/>
              </a:ext>
            </a:extLst>
          </p:cNvPr>
          <p:cNvSpPr/>
          <p:nvPr/>
        </p:nvSpPr>
        <p:spPr>
          <a:xfrm>
            <a:off x="749522" y="2623823"/>
            <a:ext cx="1686839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1. Planning admin review the application and check for minimum requirements (title, nominated cost of works, etc.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82D8D9C-7FC4-7C37-78A5-1CA6F21ED8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95382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BB8DE6-9822-4DB3-3E3D-023E08DCA47F}"/>
              </a:ext>
            </a:extLst>
          </p:cNvPr>
          <p:cNvSpPr/>
          <p:nvPr/>
        </p:nvSpPr>
        <p:spPr>
          <a:xfrm>
            <a:off x="2542730" y="2623823"/>
            <a:ext cx="1540972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2. If key information is missing, planning admin follow-up with the applicant and request missing inform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0EDD71B-CC7F-174C-899D-E91EE2D07496}"/>
              </a:ext>
            </a:extLst>
          </p:cNvPr>
          <p:cNvSpPr/>
          <p:nvPr/>
        </p:nvSpPr>
        <p:spPr>
          <a:xfrm>
            <a:off x="4349968" y="1735613"/>
            <a:ext cx="1136736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1-2 days from lodgement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984EA5C-7E6A-054B-3553-7E94D49040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96070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3FAA23-46E4-E4E5-1D30-856E585107CA}"/>
              </a:ext>
            </a:extLst>
          </p:cNvPr>
          <p:cNvSpPr/>
          <p:nvPr/>
        </p:nvSpPr>
        <p:spPr>
          <a:xfrm>
            <a:off x="4305027" y="2623700"/>
            <a:ext cx="1251521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3. Duty officers conduct a preliminary application review using a checklist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82C9F9E-E1AC-A6C9-B401-4D569E04E16F}"/>
              </a:ext>
            </a:extLst>
          </p:cNvPr>
          <p:cNvSpPr/>
          <p:nvPr/>
        </p:nvSpPr>
        <p:spPr>
          <a:xfrm>
            <a:off x="6002363" y="1735613"/>
            <a:ext cx="1136736" cy="359222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1-2 days from lodgement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BA66439-70D8-EBAA-091F-4425E014FE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54731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CDBFEF-D4D8-DE91-4888-2FB2F7BA9552}"/>
              </a:ext>
            </a:extLst>
          </p:cNvPr>
          <p:cNvSpPr/>
          <p:nvPr/>
        </p:nvSpPr>
        <p:spPr>
          <a:xfrm>
            <a:off x="5721303" y="2623823"/>
            <a:ext cx="1703912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4. Coordinators review the dashboard in Pathway daily and allocate the application to a planner based on experience and availabilit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96399B3-4295-75A4-9C7D-940C2C0C393A}"/>
              </a:ext>
            </a:extLst>
          </p:cNvPr>
          <p:cNvSpPr/>
          <p:nvPr/>
        </p:nvSpPr>
        <p:spPr>
          <a:xfrm>
            <a:off x="5942483" y="4358430"/>
            <a:ext cx="1633329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5. Planning admin formally completes lodgement and they send application to internal referrals (not for VicSmart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A37DB-F5F9-506B-C7A8-0EDEB3BCA8FF}"/>
              </a:ext>
            </a:extLst>
          </p:cNvPr>
          <p:cNvSpPr/>
          <p:nvPr/>
        </p:nvSpPr>
        <p:spPr>
          <a:xfrm>
            <a:off x="4169902" y="4358517"/>
            <a:ext cx="1454408" cy="561637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6. Applicants receive an acknowledgment letter informing them of which planner will work on their application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E71E8-3428-2A8D-7FBC-AD4D16926D12}"/>
              </a:ext>
            </a:extLst>
          </p:cNvPr>
          <p:cNvSpPr/>
          <p:nvPr/>
        </p:nvSpPr>
        <p:spPr>
          <a:xfrm>
            <a:off x="1879715" y="3418517"/>
            <a:ext cx="1136736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Within 7 days</a:t>
            </a:r>
            <a:b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</a:b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of allocation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99FBA07-6BF2-346C-AAE5-AF575F37A7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32680" y="3849185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054D824-B0FE-0F95-95C7-A97A56381277}"/>
              </a:ext>
            </a:extLst>
          </p:cNvPr>
          <p:cNvSpPr/>
          <p:nvPr/>
        </p:nvSpPr>
        <p:spPr>
          <a:xfrm>
            <a:off x="879657" y="4358516"/>
            <a:ext cx="3160526" cy="809573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7. Planner assesses the application in Pathway and notes RFI requirements (without generating the letter yet - they do it in a report or in a preliminary assessment doc etc.). They set a reminder in their calendar on day </a:t>
            </a:r>
            <a:r>
              <a:rPr lang="en-AU" sz="1000" b="1" dirty="0">
                <a:solidFill>
                  <a:schemeClr val="accent6"/>
                </a:solidFill>
                <a:cs typeface="Segoe UI Semilight" panose="020B0402040204020203" pitchFamily="34" charset="0"/>
              </a:rPr>
              <a:t>8/20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 to prompt them to revisit the application. For VicSmart there is a Pathway reminder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BAB3551-5510-CE20-6E34-229C5C5769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78605" y="3849185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0B54A12-5E8E-B012-0754-0F74920B8C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43148" y="3849185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E74B531-4690-3E92-6B22-F02F21995EE8}"/>
              </a:ext>
            </a:extLst>
          </p:cNvPr>
          <p:cNvSpPr/>
          <p:nvPr/>
        </p:nvSpPr>
        <p:spPr>
          <a:xfrm>
            <a:off x="1250065" y="5336895"/>
            <a:ext cx="4236640" cy="467519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>
              <a:spcAft>
                <a:spcPts val="100"/>
              </a:spcAft>
            </a:pP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VicSmart – within 5 days</a:t>
            </a:r>
          </a:p>
          <a:p>
            <a:pPr algn="ctr">
              <a:spcAft>
                <a:spcPts val="100"/>
              </a:spcAft>
            </a:pPr>
            <a:r>
              <a:rPr lang="en-AU" sz="1000" b="1" dirty="0">
                <a:solidFill>
                  <a:srgbClr val="017D7D"/>
                </a:solidFill>
                <a:cs typeface="Segoe UI Semibold" panose="020B0702040204020203" pitchFamily="34" charset="0"/>
              </a:rPr>
              <a:t>Within 10 days of allocation for applications with no referrals</a:t>
            </a:r>
          </a:p>
          <a:p>
            <a:pPr algn="ctr">
              <a:spcAft>
                <a:spcPts val="100"/>
              </a:spcAft>
            </a:pPr>
            <a:r>
              <a:rPr lang="en-AU" sz="1000" b="1" dirty="0">
                <a:solidFill>
                  <a:srgbClr val="017D7D"/>
                </a:solidFill>
                <a:cs typeface="Segoe UI Semibold" panose="020B0702040204020203" pitchFamily="34" charset="0"/>
              </a:rPr>
              <a:t>Within 28 days of allocation for applications with referrals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E76B915-65AB-587E-7A42-02481CFE51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23843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30EA624-C1AC-9A15-61AA-4CA9867071C3}"/>
              </a:ext>
            </a:extLst>
          </p:cNvPr>
          <p:cNvSpPr/>
          <p:nvPr/>
        </p:nvSpPr>
        <p:spPr>
          <a:xfrm>
            <a:off x="780213" y="6383985"/>
            <a:ext cx="1719262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8. Planner circulates the application for internal </a:t>
            </a:r>
            <a:b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</a:b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(if needed) and external referrals (if applicable)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5641265-0981-89DE-CDBD-8308809D1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155306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3625B10-5A1F-9DF3-6111-78B38F55C39E}"/>
              </a:ext>
            </a:extLst>
          </p:cNvPr>
          <p:cNvSpPr/>
          <p:nvPr/>
        </p:nvSpPr>
        <p:spPr>
          <a:xfrm>
            <a:off x="2675853" y="6383985"/>
            <a:ext cx="1407849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9. Planner sends RFI to applicant using the RFI template. Some planners give the applicant a call (optional)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21FD4E9-081E-50FE-20F9-1D7D12E9A6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2403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1D27BA-1CCB-08B3-9F01-F1040FA84BC9}"/>
              </a:ext>
            </a:extLst>
          </p:cNvPr>
          <p:cNvSpPr/>
          <p:nvPr/>
        </p:nvSpPr>
        <p:spPr>
          <a:xfrm>
            <a:off x="4187338" y="6383985"/>
            <a:ext cx="1681786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10. Future consideration once automated: Applicant receives automated reminder text reminding them about upcoming lapse dat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442BA56-896C-7AAD-471E-DC06873724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89672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C35F8C7-CBA7-8B27-4C3F-A65F5D1B3618}"/>
              </a:ext>
            </a:extLst>
          </p:cNvPr>
          <p:cNvSpPr/>
          <p:nvPr/>
        </p:nvSpPr>
        <p:spPr>
          <a:xfrm>
            <a:off x="6129151" y="6383985"/>
            <a:ext cx="753042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11. Applicant submits</a:t>
            </a:r>
            <a:b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</a:br>
            <a:r>
              <a:rPr lang="en-AU" sz="1000">
                <a:solidFill>
                  <a:schemeClr val="accent6"/>
                </a:solidFill>
                <a:cs typeface="Segoe UI Semilight" panose="020B0402040204020203" pitchFamily="34" charset="0"/>
              </a:rPr>
              <a:t>response </a:t>
            </a:r>
            <a:br>
              <a:rPr lang="en-AU" sz="1000">
                <a:solidFill>
                  <a:schemeClr val="accent6"/>
                </a:solidFill>
                <a:cs typeface="Segoe UI Semilight" panose="020B0402040204020203" pitchFamily="34" charset="0"/>
              </a:rPr>
            </a:br>
            <a:r>
              <a:rPr lang="en-AU" sz="1000">
                <a:solidFill>
                  <a:schemeClr val="accent6"/>
                </a:solidFill>
                <a:cs typeface="Segoe UI Semilight" panose="020B0402040204020203" pitchFamily="34" charset="0"/>
              </a:rPr>
              <a:t>(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or not)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BDBC739-FB5B-A12C-C247-9B091149D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2347090" y="3951352"/>
            <a:ext cx="225659" cy="225659"/>
            <a:chOff x="841685" y="5534607"/>
            <a:chExt cx="537326" cy="537326"/>
          </a:xfrm>
          <a:solidFill>
            <a:srgbClr val="FFFFFF"/>
          </a:solidFill>
        </p:grpSpPr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955162CE-BAFC-44BD-AB93-A0738BE4C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685" y="5534607"/>
              <a:ext cx="334158" cy="461138"/>
            </a:xfrm>
            <a:custGeom>
              <a:avLst/>
              <a:gdLst>
                <a:gd name="T0" fmla="*/ 92 w 106"/>
                <a:gd name="T1" fmla="*/ 69 h 146"/>
                <a:gd name="T2" fmla="*/ 89 w 106"/>
                <a:gd name="T3" fmla="*/ 72 h 146"/>
                <a:gd name="T4" fmla="*/ 82 w 106"/>
                <a:gd name="T5" fmla="*/ 87 h 146"/>
                <a:gd name="T6" fmla="*/ 82 w 106"/>
                <a:gd name="T7" fmla="*/ 88 h 146"/>
                <a:gd name="T8" fmla="*/ 82 w 106"/>
                <a:gd name="T9" fmla="*/ 109 h 146"/>
                <a:gd name="T10" fmla="*/ 85 w 106"/>
                <a:gd name="T11" fmla="*/ 113 h 146"/>
                <a:gd name="T12" fmla="*/ 88 w 106"/>
                <a:gd name="T13" fmla="*/ 107 h 146"/>
                <a:gd name="T14" fmla="*/ 88 w 106"/>
                <a:gd name="T15" fmla="*/ 90 h 146"/>
                <a:gd name="T16" fmla="*/ 88 w 106"/>
                <a:gd name="T17" fmla="*/ 90 h 146"/>
                <a:gd name="T18" fmla="*/ 94 w 106"/>
                <a:gd name="T19" fmla="*/ 76 h 146"/>
                <a:gd name="T20" fmla="*/ 94 w 106"/>
                <a:gd name="T21" fmla="*/ 75 h 146"/>
                <a:gd name="T22" fmla="*/ 105 w 106"/>
                <a:gd name="T23" fmla="*/ 60 h 146"/>
                <a:gd name="T24" fmla="*/ 103 w 106"/>
                <a:gd name="T25" fmla="*/ 46 h 146"/>
                <a:gd name="T26" fmla="*/ 101 w 106"/>
                <a:gd name="T27" fmla="*/ 45 h 146"/>
                <a:gd name="T28" fmla="*/ 101 w 106"/>
                <a:gd name="T29" fmla="*/ 45 h 146"/>
                <a:gd name="T30" fmla="*/ 101 w 106"/>
                <a:gd name="T31" fmla="*/ 45 h 146"/>
                <a:gd name="T32" fmla="*/ 96 w 106"/>
                <a:gd name="T33" fmla="*/ 16 h 146"/>
                <a:gd name="T34" fmla="*/ 62 w 106"/>
                <a:gd name="T35" fmla="*/ 0 h 146"/>
                <a:gd name="T36" fmla="*/ 29 w 106"/>
                <a:gd name="T37" fmla="*/ 16 h 146"/>
                <a:gd name="T38" fmla="*/ 23 w 106"/>
                <a:gd name="T39" fmla="*/ 45 h 146"/>
                <a:gd name="T40" fmla="*/ 23 w 106"/>
                <a:gd name="T41" fmla="*/ 45 h 146"/>
                <a:gd name="T42" fmla="*/ 23 w 106"/>
                <a:gd name="T43" fmla="*/ 45 h 146"/>
                <a:gd name="T44" fmla="*/ 22 w 106"/>
                <a:gd name="T45" fmla="*/ 46 h 146"/>
                <a:gd name="T46" fmla="*/ 20 w 106"/>
                <a:gd name="T47" fmla="*/ 60 h 146"/>
                <a:gd name="T48" fmla="*/ 30 w 106"/>
                <a:gd name="T49" fmla="*/ 75 h 146"/>
                <a:gd name="T50" fmla="*/ 30 w 106"/>
                <a:gd name="T51" fmla="*/ 76 h 146"/>
                <a:gd name="T52" fmla="*/ 37 w 106"/>
                <a:gd name="T53" fmla="*/ 90 h 146"/>
                <a:gd name="T54" fmla="*/ 37 w 106"/>
                <a:gd name="T55" fmla="*/ 90 h 146"/>
                <a:gd name="T56" fmla="*/ 37 w 106"/>
                <a:gd name="T57" fmla="*/ 107 h 146"/>
                <a:gd name="T58" fmla="*/ 29 w 106"/>
                <a:gd name="T59" fmla="*/ 111 h 146"/>
                <a:gd name="T60" fmla="*/ 28 w 106"/>
                <a:gd name="T61" fmla="*/ 112 h 146"/>
                <a:gd name="T62" fmla="*/ 0 w 106"/>
                <a:gd name="T63" fmla="*/ 142 h 146"/>
                <a:gd name="T64" fmla="*/ 4 w 106"/>
                <a:gd name="T65" fmla="*/ 146 h 146"/>
                <a:gd name="T66" fmla="*/ 83 w 106"/>
                <a:gd name="T67" fmla="*/ 146 h 146"/>
                <a:gd name="T68" fmla="*/ 83 w 106"/>
                <a:gd name="T69" fmla="*/ 139 h 146"/>
                <a:gd name="T70" fmla="*/ 8 w 106"/>
                <a:gd name="T71" fmla="*/ 139 h 146"/>
                <a:gd name="T72" fmla="*/ 8 w 106"/>
                <a:gd name="T73" fmla="*/ 139 h 146"/>
                <a:gd name="T74" fmla="*/ 32 w 106"/>
                <a:gd name="T75" fmla="*/ 117 h 146"/>
                <a:gd name="T76" fmla="*/ 32 w 106"/>
                <a:gd name="T77" fmla="*/ 117 h 146"/>
                <a:gd name="T78" fmla="*/ 43 w 106"/>
                <a:gd name="T79" fmla="*/ 109 h 146"/>
                <a:gd name="T80" fmla="*/ 43 w 106"/>
                <a:gd name="T81" fmla="*/ 88 h 146"/>
                <a:gd name="T82" fmla="*/ 43 w 106"/>
                <a:gd name="T83" fmla="*/ 87 h 146"/>
                <a:gd name="T84" fmla="*/ 36 w 106"/>
                <a:gd name="T85" fmla="*/ 72 h 146"/>
                <a:gd name="T86" fmla="*/ 33 w 106"/>
                <a:gd name="T87" fmla="*/ 69 h 146"/>
                <a:gd name="T88" fmla="*/ 26 w 106"/>
                <a:gd name="T89" fmla="*/ 59 h 146"/>
                <a:gd name="T90" fmla="*/ 27 w 106"/>
                <a:gd name="T91" fmla="*/ 51 h 146"/>
                <a:gd name="T92" fmla="*/ 27 w 106"/>
                <a:gd name="T93" fmla="*/ 50 h 146"/>
                <a:gd name="T94" fmla="*/ 30 w 106"/>
                <a:gd name="T95" fmla="*/ 49 h 146"/>
                <a:gd name="T96" fmla="*/ 30 w 106"/>
                <a:gd name="T97" fmla="*/ 46 h 146"/>
                <a:gd name="T98" fmla="*/ 34 w 106"/>
                <a:gd name="T99" fmla="*/ 19 h 146"/>
                <a:gd name="T100" fmla="*/ 62 w 106"/>
                <a:gd name="T101" fmla="*/ 6 h 146"/>
                <a:gd name="T102" fmla="*/ 90 w 106"/>
                <a:gd name="T103" fmla="*/ 19 h 146"/>
                <a:gd name="T104" fmla="*/ 94 w 106"/>
                <a:gd name="T105" fmla="*/ 46 h 146"/>
                <a:gd name="T106" fmla="*/ 95 w 106"/>
                <a:gd name="T107" fmla="*/ 49 h 146"/>
                <a:gd name="T108" fmla="*/ 97 w 106"/>
                <a:gd name="T109" fmla="*/ 50 h 146"/>
                <a:gd name="T110" fmla="*/ 98 w 106"/>
                <a:gd name="T111" fmla="*/ 51 h 146"/>
                <a:gd name="T112" fmla="*/ 98 w 106"/>
                <a:gd name="T113" fmla="*/ 59 h 146"/>
                <a:gd name="T114" fmla="*/ 92 w 106"/>
                <a:gd name="T115" fmla="*/ 6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" h="146">
                  <a:moveTo>
                    <a:pt x="92" y="69"/>
                  </a:moveTo>
                  <a:cubicBezTo>
                    <a:pt x="90" y="69"/>
                    <a:pt x="89" y="70"/>
                    <a:pt x="89" y="72"/>
                  </a:cubicBezTo>
                  <a:cubicBezTo>
                    <a:pt x="87" y="78"/>
                    <a:pt x="85" y="83"/>
                    <a:pt x="82" y="87"/>
                  </a:cubicBezTo>
                  <a:cubicBezTo>
                    <a:pt x="82" y="87"/>
                    <a:pt x="82" y="88"/>
                    <a:pt x="82" y="88"/>
                  </a:cubicBezTo>
                  <a:cubicBezTo>
                    <a:pt x="81" y="91"/>
                    <a:pt x="79" y="103"/>
                    <a:pt x="82" y="109"/>
                  </a:cubicBezTo>
                  <a:cubicBezTo>
                    <a:pt x="82" y="111"/>
                    <a:pt x="83" y="112"/>
                    <a:pt x="85" y="113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6" y="103"/>
                    <a:pt x="87" y="94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0" y="86"/>
                    <a:pt x="92" y="81"/>
                    <a:pt x="94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100" y="74"/>
                    <a:pt x="104" y="66"/>
                    <a:pt x="105" y="60"/>
                  </a:cubicBezTo>
                  <a:cubicBezTo>
                    <a:pt x="106" y="53"/>
                    <a:pt x="105" y="49"/>
                    <a:pt x="103" y="46"/>
                  </a:cubicBezTo>
                  <a:cubicBezTo>
                    <a:pt x="102" y="46"/>
                    <a:pt x="102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4" y="35"/>
                    <a:pt x="102" y="24"/>
                    <a:pt x="96" y="16"/>
                  </a:cubicBezTo>
                  <a:cubicBezTo>
                    <a:pt x="88" y="5"/>
                    <a:pt x="76" y="0"/>
                    <a:pt x="62" y="0"/>
                  </a:cubicBezTo>
                  <a:cubicBezTo>
                    <a:pt x="48" y="0"/>
                    <a:pt x="36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2" y="46"/>
                    <a:pt x="22" y="46"/>
                  </a:cubicBezTo>
                  <a:cubicBezTo>
                    <a:pt x="19" y="49"/>
                    <a:pt x="19" y="53"/>
                    <a:pt x="20" y="60"/>
                  </a:cubicBezTo>
                  <a:cubicBezTo>
                    <a:pt x="21" y="66"/>
                    <a:pt x="25" y="74"/>
                    <a:pt x="30" y="75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2" y="81"/>
                    <a:pt x="34" y="86"/>
                    <a:pt x="37" y="90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1"/>
                    <a:pt x="39" y="102"/>
                    <a:pt x="37" y="107"/>
                  </a:cubicBezTo>
                  <a:cubicBezTo>
                    <a:pt x="36" y="109"/>
                    <a:pt x="33" y="110"/>
                    <a:pt x="29" y="111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19" y="115"/>
                    <a:pt x="0" y="123"/>
                    <a:pt x="0" y="142"/>
                  </a:cubicBezTo>
                  <a:cubicBezTo>
                    <a:pt x="0" y="142"/>
                    <a:pt x="0" y="146"/>
                    <a:pt x="4" y="146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39"/>
                    <a:pt x="83" y="139"/>
                    <a:pt x="83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29"/>
                    <a:pt x="17" y="122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37" y="115"/>
                    <a:pt x="41" y="113"/>
                    <a:pt x="43" y="109"/>
                  </a:cubicBezTo>
                  <a:cubicBezTo>
                    <a:pt x="45" y="103"/>
                    <a:pt x="43" y="91"/>
                    <a:pt x="43" y="88"/>
                  </a:cubicBezTo>
                  <a:cubicBezTo>
                    <a:pt x="43" y="88"/>
                    <a:pt x="43" y="87"/>
                    <a:pt x="43" y="87"/>
                  </a:cubicBezTo>
                  <a:cubicBezTo>
                    <a:pt x="40" y="83"/>
                    <a:pt x="38" y="78"/>
                    <a:pt x="36" y="72"/>
                  </a:cubicBezTo>
                  <a:cubicBezTo>
                    <a:pt x="35" y="70"/>
                    <a:pt x="34" y="69"/>
                    <a:pt x="33" y="69"/>
                  </a:cubicBezTo>
                  <a:cubicBezTo>
                    <a:pt x="31" y="69"/>
                    <a:pt x="27" y="65"/>
                    <a:pt x="26" y="59"/>
                  </a:cubicBezTo>
                  <a:cubicBezTo>
                    <a:pt x="25" y="53"/>
                    <a:pt x="26" y="51"/>
                    <a:pt x="27" y="51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8" y="50"/>
                    <a:pt x="29" y="50"/>
                    <a:pt x="30" y="49"/>
                  </a:cubicBezTo>
                  <a:cubicBezTo>
                    <a:pt x="30" y="48"/>
                    <a:pt x="31" y="47"/>
                    <a:pt x="30" y="46"/>
                  </a:cubicBezTo>
                  <a:cubicBezTo>
                    <a:pt x="27" y="37"/>
                    <a:pt x="29" y="27"/>
                    <a:pt x="34" y="19"/>
                  </a:cubicBezTo>
                  <a:cubicBezTo>
                    <a:pt x="40" y="11"/>
                    <a:pt x="50" y="6"/>
                    <a:pt x="62" y="6"/>
                  </a:cubicBezTo>
                  <a:cubicBezTo>
                    <a:pt x="74" y="6"/>
                    <a:pt x="84" y="11"/>
                    <a:pt x="90" y="19"/>
                  </a:cubicBezTo>
                  <a:cubicBezTo>
                    <a:pt x="96" y="27"/>
                    <a:pt x="97" y="37"/>
                    <a:pt x="94" y="46"/>
                  </a:cubicBezTo>
                  <a:cubicBezTo>
                    <a:pt x="94" y="47"/>
                    <a:pt x="94" y="48"/>
                    <a:pt x="95" y="49"/>
                  </a:cubicBezTo>
                  <a:cubicBezTo>
                    <a:pt x="95" y="50"/>
                    <a:pt x="96" y="50"/>
                    <a:pt x="97" y="50"/>
                  </a:cubicBezTo>
                  <a:cubicBezTo>
                    <a:pt x="98" y="50"/>
                    <a:pt x="98" y="50"/>
                    <a:pt x="98" y="51"/>
                  </a:cubicBezTo>
                  <a:cubicBezTo>
                    <a:pt x="98" y="51"/>
                    <a:pt x="99" y="52"/>
                    <a:pt x="98" y="59"/>
                  </a:cubicBezTo>
                  <a:cubicBezTo>
                    <a:pt x="97" y="65"/>
                    <a:pt x="94" y="69"/>
                    <a:pt x="92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21098148-D82C-1811-6FBB-1C667D829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0348" y="5803270"/>
              <a:ext cx="268663" cy="268663"/>
            </a:xfrm>
            <a:custGeom>
              <a:avLst/>
              <a:gdLst>
                <a:gd name="T0" fmla="*/ 72 w 85"/>
                <a:gd name="T1" fmla="*/ 33 h 85"/>
                <a:gd name="T2" fmla="*/ 77 w 85"/>
                <a:gd name="T3" fmla="*/ 21 h 85"/>
                <a:gd name="T4" fmla="*/ 68 w 85"/>
                <a:gd name="T5" fmla="*/ 8 h 85"/>
                <a:gd name="T6" fmla="*/ 56 w 85"/>
                <a:gd name="T7" fmla="*/ 15 h 85"/>
                <a:gd name="T8" fmla="*/ 52 w 85"/>
                <a:gd name="T9" fmla="*/ 3 h 85"/>
                <a:gd name="T10" fmla="*/ 36 w 85"/>
                <a:gd name="T11" fmla="*/ 0 h 85"/>
                <a:gd name="T12" fmla="*/ 33 w 85"/>
                <a:gd name="T13" fmla="*/ 13 h 85"/>
                <a:gd name="T14" fmla="*/ 21 w 85"/>
                <a:gd name="T15" fmla="*/ 8 h 85"/>
                <a:gd name="T16" fmla="*/ 8 w 85"/>
                <a:gd name="T17" fmla="*/ 17 h 85"/>
                <a:gd name="T18" fmla="*/ 15 w 85"/>
                <a:gd name="T19" fmla="*/ 29 h 85"/>
                <a:gd name="T20" fmla="*/ 3 w 85"/>
                <a:gd name="T21" fmla="*/ 34 h 85"/>
                <a:gd name="T22" fmla="*/ 0 w 85"/>
                <a:gd name="T23" fmla="*/ 49 h 85"/>
                <a:gd name="T24" fmla="*/ 13 w 85"/>
                <a:gd name="T25" fmla="*/ 53 h 85"/>
                <a:gd name="T26" fmla="*/ 8 w 85"/>
                <a:gd name="T27" fmla="*/ 65 h 85"/>
                <a:gd name="T28" fmla="*/ 17 w 85"/>
                <a:gd name="T29" fmla="*/ 77 h 85"/>
                <a:gd name="T30" fmla="*/ 29 w 85"/>
                <a:gd name="T31" fmla="*/ 70 h 85"/>
                <a:gd name="T32" fmla="*/ 34 w 85"/>
                <a:gd name="T33" fmla="*/ 83 h 85"/>
                <a:gd name="T34" fmla="*/ 49 w 85"/>
                <a:gd name="T35" fmla="*/ 85 h 85"/>
                <a:gd name="T36" fmla="*/ 53 w 85"/>
                <a:gd name="T37" fmla="*/ 72 h 85"/>
                <a:gd name="T38" fmla="*/ 65 w 85"/>
                <a:gd name="T39" fmla="*/ 77 h 85"/>
                <a:gd name="T40" fmla="*/ 77 w 85"/>
                <a:gd name="T41" fmla="*/ 68 h 85"/>
                <a:gd name="T42" fmla="*/ 71 w 85"/>
                <a:gd name="T43" fmla="*/ 56 h 85"/>
                <a:gd name="T44" fmla="*/ 83 w 85"/>
                <a:gd name="T45" fmla="*/ 52 h 85"/>
                <a:gd name="T46" fmla="*/ 85 w 85"/>
                <a:gd name="T47" fmla="*/ 36 h 85"/>
                <a:gd name="T48" fmla="*/ 68 w 85"/>
                <a:gd name="T49" fmla="*/ 50 h 85"/>
                <a:gd name="T50" fmla="*/ 66 w 85"/>
                <a:gd name="T51" fmla="*/ 58 h 85"/>
                <a:gd name="T52" fmla="*/ 66 w 85"/>
                <a:gd name="T53" fmla="*/ 72 h 85"/>
                <a:gd name="T54" fmla="*/ 56 w 85"/>
                <a:gd name="T55" fmla="*/ 66 h 85"/>
                <a:gd name="T56" fmla="*/ 48 w 85"/>
                <a:gd name="T57" fmla="*/ 70 h 85"/>
                <a:gd name="T58" fmla="*/ 38 w 85"/>
                <a:gd name="T59" fmla="*/ 80 h 85"/>
                <a:gd name="T60" fmla="*/ 36 w 85"/>
                <a:gd name="T61" fmla="*/ 68 h 85"/>
                <a:gd name="T62" fmla="*/ 27 w 85"/>
                <a:gd name="T63" fmla="*/ 66 h 85"/>
                <a:gd name="T64" fmla="*/ 13 w 85"/>
                <a:gd name="T65" fmla="*/ 66 h 85"/>
                <a:gd name="T66" fmla="*/ 20 w 85"/>
                <a:gd name="T67" fmla="*/ 56 h 85"/>
                <a:gd name="T68" fmla="*/ 15 w 85"/>
                <a:gd name="T69" fmla="*/ 48 h 85"/>
                <a:gd name="T70" fmla="*/ 5 w 85"/>
                <a:gd name="T71" fmla="*/ 38 h 85"/>
                <a:gd name="T72" fmla="*/ 17 w 85"/>
                <a:gd name="T73" fmla="*/ 36 h 85"/>
                <a:gd name="T74" fmla="*/ 19 w 85"/>
                <a:gd name="T75" fmla="*/ 27 h 85"/>
                <a:gd name="T76" fmla="*/ 19 w 85"/>
                <a:gd name="T77" fmla="*/ 13 h 85"/>
                <a:gd name="T78" fmla="*/ 29 w 85"/>
                <a:gd name="T79" fmla="*/ 20 h 85"/>
                <a:gd name="T80" fmla="*/ 37 w 85"/>
                <a:gd name="T81" fmla="*/ 15 h 85"/>
                <a:gd name="T82" fmla="*/ 47 w 85"/>
                <a:gd name="T83" fmla="*/ 5 h 85"/>
                <a:gd name="T84" fmla="*/ 50 w 85"/>
                <a:gd name="T85" fmla="*/ 17 h 85"/>
                <a:gd name="T86" fmla="*/ 58 w 85"/>
                <a:gd name="T87" fmla="*/ 19 h 85"/>
                <a:gd name="T88" fmla="*/ 72 w 85"/>
                <a:gd name="T89" fmla="*/ 19 h 85"/>
                <a:gd name="T90" fmla="*/ 66 w 85"/>
                <a:gd name="T91" fmla="*/ 29 h 85"/>
                <a:gd name="T92" fmla="*/ 70 w 85"/>
                <a:gd name="T93" fmla="*/ 37 h 85"/>
                <a:gd name="T94" fmla="*/ 80 w 85"/>
                <a:gd name="T95" fmla="*/ 47 h 85"/>
                <a:gd name="T96" fmla="*/ 68 w 85"/>
                <a:gd name="T97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5" h="85">
                  <a:moveTo>
                    <a:pt x="83" y="34"/>
                  </a:moveTo>
                  <a:cubicBezTo>
                    <a:pt x="72" y="33"/>
                    <a:pt x="72" y="33"/>
                    <a:pt x="72" y="33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8" y="20"/>
                    <a:pt x="78" y="18"/>
                    <a:pt x="77" y="17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7" y="7"/>
                    <a:pt x="66" y="7"/>
                    <a:pt x="65" y="8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1"/>
                    <a:pt x="50" y="0"/>
                    <a:pt x="49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4" y="1"/>
                    <a:pt x="34" y="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7"/>
                    <a:pt x="18" y="7"/>
                    <a:pt x="17" y="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8"/>
                    <a:pt x="7" y="20"/>
                    <a:pt x="8" y="21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1" y="34"/>
                    <a:pt x="0" y="35"/>
                    <a:pt x="0" y="3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3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7" y="66"/>
                    <a:pt x="7" y="67"/>
                    <a:pt x="8" y="68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8" y="78"/>
                    <a:pt x="20" y="78"/>
                    <a:pt x="21" y="77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5" y="85"/>
                    <a:pt x="36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50" y="85"/>
                    <a:pt x="51" y="84"/>
                    <a:pt x="52" y="8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6" y="78"/>
                    <a:pt x="67" y="78"/>
                    <a:pt x="68" y="77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8" y="67"/>
                    <a:pt x="78" y="66"/>
                    <a:pt x="77" y="6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4" y="51"/>
                    <a:pt x="85" y="50"/>
                    <a:pt x="85" y="49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5"/>
                    <a:pt x="84" y="34"/>
                    <a:pt x="83" y="34"/>
                  </a:cubicBezTo>
                  <a:close/>
                  <a:moveTo>
                    <a:pt x="68" y="50"/>
                  </a:moveTo>
                  <a:cubicBezTo>
                    <a:pt x="66" y="56"/>
                    <a:pt x="66" y="56"/>
                    <a:pt x="66" y="56"/>
                  </a:cubicBezTo>
                  <a:cubicBezTo>
                    <a:pt x="65" y="57"/>
                    <a:pt x="65" y="58"/>
                    <a:pt x="66" y="58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58" y="65"/>
                    <a:pt x="57" y="65"/>
                    <a:pt x="56" y="66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49" y="69"/>
                    <a:pt x="48" y="69"/>
                    <a:pt x="48" y="7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7" y="69"/>
                    <a:pt x="37" y="68"/>
                    <a:pt x="36" y="68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5"/>
                    <a:pt x="28" y="65"/>
                    <a:pt x="27" y="66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8"/>
                    <a:pt x="20" y="57"/>
                    <a:pt x="20" y="56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49"/>
                    <a:pt x="16" y="48"/>
                    <a:pt x="15" y="4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7"/>
                    <a:pt x="17" y="37"/>
                    <a:pt x="17" y="36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8"/>
                    <a:pt x="19" y="27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8" y="20"/>
                    <a:pt x="29" y="20"/>
                    <a:pt x="29" y="2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7"/>
                    <a:pt x="37" y="16"/>
                    <a:pt x="37" y="1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6"/>
                    <a:pt x="49" y="17"/>
                    <a:pt x="50" y="17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7" y="20"/>
                    <a:pt x="58" y="20"/>
                    <a:pt x="58" y="19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5" y="28"/>
                    <a:pt x="65" y="29"/>
                    <a:pt x="66" y="29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9" y="36"/>
                    <a:pt x="69" y="37"/>
                    <a:pt x="70" y="37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9" y="49"/>
                    <a:pt x="68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ECCC0D6C-7831-D480-F558-458F0500A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9209" y="5882131"/>
              <a:ext cx="110940" cy="110941"/>
            </a:xfrm>
            <a:custGeom>
              <a:avLst/>
              <a:gdLst>
                <a:gd name="T0" fmla="*/ 18 w 35"/>
                <a:gd name="T1" fmla="*/ 0 h 35"/>
                <a:gd name="T2" fmla="*/ 0 w 35"/>
                <a:gd name="T3" fmla="*/ 18 h 35"/>
                <a:gd name="T4" fmla="*/ 18 w 35"/>
                <a:gd name="T5" fmla="*/ 35 h 35"/>
                <a:gd name="T6" fmla="*/ 35 w 35"/>
                <a:gd name="T7" fmla="*/ 18 h 35"/>
                <a:gd name="T8" fmla="*/ 18 w 35"/>
                <a:gd name="T9" fmla="*/ 0 h 35"/>
                <a:gd name="T10" fmla="*/ 30 w 35"/>
                <a:gd name="T11" fmla="*/ 18 h 35"/>
                <a:gd name="T12" fmla="*/ 18 w 35"/>
                <a:gd name="T13" fmla="*/ 30 h 35"/>
                <a:gd name="T14" fmla="*/ 5 w 35"/>
                <a:gd name="T15" fmla="*/ 18 h 35"/>
                <a:gd name="T16" fmla="*/ 18 w 35"/>
                <a:gd name="T17" fmla="*/ 5 h 35"/>
                <a:gd name="T18" fmla="*/ 30 w 35"/>
                <a:gd name="T19" fmla="*/ 1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5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7"/>
                    <a:pt x="8" y="35"/>
                    <a:pt x="18" y="35"/>
                  </a:cubicBezTo>
                  <a:cubicBezTo>
                    <a:pt x="27" y="35"/>
                    <a:pt x="35" y="27"/>
                    <a:pt x="35" y="18"/>
                  </a:cubicBezTo>
                  <a:cubicBezTo>
                    <a:pt x="35" y="8"/>
                    <a:pt x="27" y="0"/>
                    <a:pt x="18" y="0"/>
                  </a:cubicBezTo>
                  <a:close/>
                  <a:moveTo>
                    <a:pt x="30" y="18"/>
                  </a:moveTo>
                  <a:cubicBezTo>
                    <a:pt x="30" y="25"/>
                    <a:pt x="25" y="30"/>
                    <a:pt x="18" y="30"/>
                  </a:cubicBezTo>
                  <a:cubicBezTo>
                    <a:pt x="11" y="30"/>
                    <a:pt x="5" y="25"/>
                    <a:pt x="5" y="18"/>
                  </a:cubicBezTo>
                  <a:cubicBezTo>
                    <a:pt x="5" y="11"/>
                    <a:pt x="11" y="5"/>
                    <a:pt x="18" y="5"/>
                  </a:cubicBezTo>
                  <a:cubicBezTo>
                    <a:pt x="25" y="5"/>
                    <a:pt x="30" y="11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EBF317B-2891-82CE-3737-DCA8CF7C1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1496398" y="2218033"/>
            <a:ext cx="229343" cy="222677"/>
            <a:chOff x="8374063" y="4395788"/>
            <a:chExt cx="546100" cy="530226"/>
          </a:xfrm>
          <a:solidFill>
            <a:srgbClr val="FFFFFF"/>
          </a:solidFill>
        </p:grpSpPr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F6A9FDC5-D1A8-12B5-40BE-D4DA7E01C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4395788"/>
              <a:ext cx="333375" cy="466725"/>
            </a:xfrm>
            <a:custGeom>
              <a:avLst/>
              <a:gdLst>
                <a:gd name="T0" fmla="*/ 7 w 106"/>
                <a:gd name="T1" fmla="*/ 141 h 148"/>
                <a:gd name="T2" fmla="*/ 7 w 106"/>
                <a:gd name="T3" fmla="*/ 141 h 148"/>
                <a:gd name="T4" fmla="*/ 31 w 106"/>
                <a:gd name="T5" fmla="*/ 119 h 148"/>
                <a:gd name="T6" fmla="*/ 31 w 106"/>
                <a:gd name="T7" fmla="*/ 119 h 148"/>
                <a:gd name="T8" fmla="*/ 43 w 106"/>
                <a:gd name="T9" fmla="*/ 111 h 148"/>
                <a:gd name="T10" fmla="*/ 43 w 106"/>
                <a:gd name="T11" fmla="*/ 89 h 148"/>
                <a:gd name="T12" fmla="*/ 42 w 106"/>
                <a:gd name="T13" fmla="*/ 88 h 148"/>
                <a:gd name="T14" fmla="*/ 36 w 106"/>
                <a:gd name="T15" fmla="*/ 73 h 148"/>
                <a:gd name="T16" fmla="*/ 32 w 106"/>
                <a:gd name="T17" fmla="*/ 70 h 148"/>
                <a:gd name="T18" fmla="*/ 26 w 106"/>
                <a:gd name="T19" fmla="*/ 60 h 148"/>
                <a:gd name="T20" fmla="*/ 26 w 106"/>
                <a:gd name="T21" fmla="*/ 51 h 148"/>
                <a:gd name="T22" fmla="*/ 27 w 106"/>
                <a:gd name="T23" fmla="*/ 51 h 148"/>
                <a:gd name="T24" fmla="*/ 30 w 106"/>
                <a:gd name="T25" fmla="*/ 50 h 148"/>
                <a:gd name="T26" fmla="*/ 30 w 106"/>
                <a:gd name="T27" fmla="*/ 47 h 148"/>
                <a:gd name="T28" fmla="*/ 34 w 106"/>
                <a:gd name="T29" fmla="*/ 20 h 148"/>
                <a:gd name="T30" fmla="*/ 62 w 106"/>
                <a:gd name="T31" fmla="*/ 6 h 148"/>
                <a:gd name="T32" fmla="*/ 91 w 106"/>
                <a:gd name="T33" fmla="*/ 20 h 148"/>
                <a:gd name="T34" fmla="*/ 95 w 106"/>
                <a:gd name="T35" fmla="*/ 47 h 148"/>
                <a:gd name="T36" fmla="*/ 95 w 106"/>
                <a:gd name="T37" fmla="*/ 50 h 148"/>
                <a:gd name="T38" fmla="*/ 98 w 106"/>
                <a:gd name="T39" fmla="*/ 51 h 148"/>
                <a:gd name="T40" fmla="*/ 99 w 106"/>
                <a:gd name="T41" fmla="*/ 51 h 148"/>
                <a:gd name="T42" fmla="*/ 99 w 106"/>
                <a:gd name="T43" fmla="*/ 60 h 148"/>
                <a:gd name="T44" fmla="*/ 92 w 106"/>
                <a:gd name="T45" fmla="*/ 70 h 148"/>
                <a:gd name="T46" fmla="*/ 89 w 106"/>
                <a:gd name="T47" fmla="*/ 73 h 148"/>
                <a:gd name="T48" fmla="*/ 82 w 106"/>
                <a:gd name="T49" fmla="*/ 88 h 148"/>
                <a:gd name="T50" fmla="*/ 82 w 106"/>
                <a:gd name="T51" fmla="*/ 89 h 148"/>
                <a:gd name="T52" fmla="*/ 82 w 106"/>
                <a:gd name="T53" fmla="*/ 111 h 148"/>
                <a:gd name="T54" fmla="*/ 83 w 106"/>
                <a:gd name="T55" fmla="*/ 113 h 148"/>
                <a:gd name="T56" fmla="*/ 88 w 106"/>
                <a:gd name="T57" fmla="*/ 107 h 148"/>
                <a:gd name="T58" fmla="*/ 88 w 106"/>
                <a:gd name="T59" fmla="*/ 91 h 148"/>
                <a:gd name="T60" fmla="*/ 88 w 106"/>
                <a:gd name="T61" fmla="*/ 91 h 148"/>
                <a:gd name="T62" fmla="*/ 95 w 106"/>
                <a:gd name="T63" fmla="*/ 77 h 148"/>
                <a:gd name="T64" fmla="*/ 95 w 106"/>
                <a:gd name="T65" fmla="*/ 77 h 148"/>
                <a:gd name="T66" fmla="*/ 105 w 106"/>
                <a:gd name="T67" fmla="*/ 61 h 148"/>
                <a:gd name="T68" fmla="*/ 104 w 106"/>
                <a:gd name="T69" fmla="*/ 47 h 148"/>
                <a:gd name="T70" fmla="*/ 102 w 106"/>
                <a:gd name="T71" fmla="*/ 46 h 148"/>
                <a:gd name="T72" fmla="*/ 102 w 106"/>
                <a:gd name="T73" fmla="*/ 46 h 148"/>
                <a:gd name="T74" fmla="*/ 102 w 106"/>
                <a:gd name="T75" fmla="*/ 45 h 148"/>
                <a:gd name="T76" fmla="*/ 96 w 106"/>
                <a:gd name="T77" fmla="*/ 16 h 148"/>
                <a:gd name="T78" fmla="*/ 62 w 106"/>
                <a:gd name="T79" fmla="*/ 0 h 148"/>
                <a:gd name="T80" fmla="*/ 29 w 106"/>
                <a:gd name="T81" fmla="*/ 16 h 148"/>
                <a:gd name="T82" fmla="*/ 23 w 106"/>
                <a:gd name="T83" fmla="*/ 45 h 148"/>
                <a:gd name="T84" fmla="*/ 23 w 106"/>
                <a:gd name="T85" fmla="*/ 46 h 148"/>
                <a:gd name="T86" fmla="*/ 23 w 106"/>
                <a:gd name="T87" fmla="*/ 46 h 148"/>
                <a:gd name="T88" fmla="*/ 21 w 106"/>
                <a:gd name="T89" fmla="*/ 47 h 148"/>
                <a:gd name="T90" fmla="*/ 19 w 106"/>
                <a:gd name="T91" fmla="*/ 61 h 148"/>
                <a:gd name="T92" fmla="*/ 30 w 106"/>
                <a:gd name="T93" fmla="*/ 77 h 148"/>
                <a:gd name="T94" fmla="*/ 30 w 106"/>
                <a:gd name="T95" fmla="*/ 77 h 148"/>
                <a:gd name="T96" fmla="*/ 36 w 106"/>
                <a:gd name="T97" fmla="*/ 91 h 148"/>
                <a:gd name="T98" fmla="*/ 36 w 106"/>
                <a:gd name="T99" fmla="*/ 91 h 148"/>
                <a:gd name="T100" fmla="*/ 37 w 106"/>
                <a:gd name="T101" fmla="*/ 108 h 148"/>
                <a:gd name="T102" fmla="*/ 29 w 106"/>
                <a:gd name="T103" fmla="*/ 113 h 148"/>
                <a:gd name="T104" fmla="*/ 28 w 106"/>
                <a:gd name="T105" fmla="*/ 113 h 148"/>
                <a:gd name="T106" fmla="*/ 0 w 106"/>
                <a:gd name="T107" fmla="*/ 144 h 148"/>
                <a:gd name="T108" fmla="*/ 4 w 106"/>
                <a:gd name="T109" fmla="*/ 148 h 148"/>
                <a:gd name="T110" fmla="*/ 90 w 106"/>
                <a:gd name="T111" fmla="*/ 148 h 148"/>
                <a:gd name="T112" fmla="*/ 85 w 106"/>
                <a:gd name="T113" fmla="*/ 141 h 148"/>
                <a:gd name="T114" fmla="*/ 7 w 106"/>
                <a:gd name="T115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" h="148">
                  <a:moveTo>
                    <a:pt x="7" y="141"/>
                  </a:moveTo>
                  <a:cubicBezTo>
                    <a:pt x="7" y="141"/>
                    <a:pt x="7" y="141"/>
                    <a:pt x="7" y="141"/>
                  </a:cubicBezTo>
                  <a:cubicBezTo>
                    <a:pt x="9" y="131"/>
                    <a:pt x="17" y="123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7" y="117"/>
                    <a:pt x="41" y="115"/>
                    <a:pt x="43" y="111"/>
                  </a:cubicBezTo>
                  <a:cubicBezTo>
                    <a:pt x="45" y="104"/>
                    <a:pt x="43" y="92"/>
                    <a:pt x="43" y="89"/>
                  </a:cubicBezTo>
                  <a:cubicBezTo>
                    <a:pt x="43" y="89"/>
                    <a:pt x="43" y="89"/>
                    <a:pt x="42" y="88"/>
                  </a:cubicBezTo>
                  <a:cubicBezTo>
                    <a:pt x="40" y="84"/>
                    <a:pt x="37" y="79"/>
                    <a:pt x="36" y="73"/>
                  </a:cubicBezTo>
                  <a:cubicBezTo>
                    <a:pt x="35" y="71"/>
                    <a:pt x="34" y="70"/>
                    <a:pt x="32" y="70"/>
                  </a:cubicBezTo>
                  <a:cubicBezTo>
                    <a:pt x="30" y="70"/>
                    <a:pt x="27" y="66"/>
                    <a:pt x="26" y="60"/>
                  </a:cubicBezTo>
                  <a:cubicBezTo>
                    <a:pt x="25" y="53"/>
                    <a:pt x="26" y="52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28" y="51"/>
                    <a:pt x="29" y="51"/>
                    <a:pt x="30" y="50"/>
                  </a:cubicBezTo>
                  <a:cubicBezTo>
                    <a:pt x="30" y="49"/>
                    <a:pt x="30" y="48"/>
                    <a:pt x="30" y="47"/>
                  </a:cubicBezTo>
                  <a:cubicBezTo>
                    <a:pt x="27" y="37"/>
                    <a:pt x="28" y="27"/>
                    <a:pt x="34" y="20"/>
                  </a:cubicBezTo>
                  <a:cubicBezTo>
                    <a:pt x="40" y="11"/>
                    <a:pt x="50" y="6"/>
                    <a:pt x="62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6" y="27"/>
                    <a:pt x="98" y="37"/>
                    <a:pt x="95" y="47"/>
                  </a:cubicBezTo>
                  <a:cubicBezTo>
                    <a:pt x="94" y="48"/>
                    <a:pt x="95" y="49"/>
                    <a:pt x="95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8" y="51"/>
                    <a:pt x="98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4" y="70"/>
                    <a:pt x="92" y="70"/>
                  </a:cubicBezTo>
                  <a:cubicBezTo>
                    <a:pt x="91" y="70"/>
                    <a:pt x="90" y="71"/>
                    <a:pt x="89" y="73"/>
                  </a:cubicBezTo>
                  <a:cubicBezTo>
                    <a:pt x="87" y="79"/>
                    <a:pt x="85" y="84"/>
                    <a:pt x="82" y="88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1" y="92"/>
                    <a:pt x="79" y="104"/>
                    <a:pt x="82" y="111"/>
                  </a:cubicBezTo>
                  <a:cubicBezTo>
                    <a:pt x="82" y="112"/>
                    <a:pt x="83" y="113"/>
                    <a:pt x="83" y="113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3"/>
                    <a:pt x="88" y="95"/>
                    <a:pt x="88" y="91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91" y="87"/>
                    <a:pt x="93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4" y="67"/>
                    <a:pt x="105" y="61"/>
                  </a:cubicBezTo>
                  <a:cubicBezTo>
                    <a:pt x="106" y="54"/>
                    <a:pt x="106" y="50"/>
                    <a:pt x="104" y="47"/>
                  </a:cubicBezTo>
                  <a:cubicBezTo>
                    <a:pt x="103" y="46"/>
                    <a:pt x="103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4" y="35"/>
                    <a:pt x="102" y="24"/>
                    <a:pt x="96" y="16"/>
                  </a:cubicBezTo>
                  <a:cubicBezTo>
                    <a:pt x="89" y="5"/>
                    <a:pt x="77" y="0"/>
                    <a:pt x="62" y="0"/>
                  </a:cubicBezTo>
                  <a:cubicBezTo>
                    <a:pt x="48" y="0"/>
                    <a:pt x="36" y="5"/>
                    <a:pt x="29" y="16"/>
                  </a:cubicBezTo>
                  <a:cubicBezTo>
                    <a:pt x="23" y="24"/>
                    <a:pt x="20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2" y="46"/>
                    <a:pt x="22" y="46"/>
                    <a:pt x="21" y="47"/>
                  </a:cubicBezTo>
                  <a:cubicBezTo>
                    <a:pt x="19" y="50"/>
                    <a:pt x="18" y="54"/>
                    <a:pt x="19" y="61"/>
                  </a:cubicBezTo>
                  <a:cubicBezTo>
                    <a:pt x="20" y="67"/>
                    <a:pt x="24" y="75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2" y="82"/>
                    <a:pt x="34" y="87"/>
                    <a:pt x="36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7" y="92"/>
                    <a:pt x="38" y="104"/>
                    <a:pt x="37" y="108"/>
                  </a:cubicBezTo>
                  <a:cubicBezTo>
                    <a:pt x="36" y="110"/>
                    <a:pt x="32" y="111"/>
                    <a:pt x="29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8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7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2106CE26-8C32-FC01-5C8E-7C1CA9248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59326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11577A3C-EA2B-3C0C-9F8F-6D18639FA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89488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4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B026A2CC-EC42-192D-B527-02BC92DB1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824413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0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2B0B8592-BAAC-50AE-4EED-9FB5CE1C7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525" y="4679951"/>
              <a:ext cx="274638" cy="246063"/>
            </a:xfrm>
            <a:custGeom>
              <a:avLst/>
              <a:gdLst>
                <a:gd name="T0" fmla="*/ 44 w 87"/>
                <a:gd name="T1" fmla="*/ 0 h 78"/>
                <a:gd name="T2" fmla="*/ 0 w 87"/>
                <a:gd name="T3" fmla="*/ 35 h 78"/>
                <a:gd name="T4" fmla="*/ 12 w 87"/>
                <a:gd name="T5" fmla="*/ 60 h 78"/>
                <a:gd name="T6" fmla="*/ 7 w 87"/>
                <a:gd name="T7" fmla="*/ 78 h 78"/>
                <a:gd name="T8" fmla="*/ 32 w 87"/>
                <a:gd name="T9" fmla="*/ 69 h 78"/>
                <a:gd name="T10" fmla="*/ 32 w 87"/>
                <a:gd name="T11" fmla="*/ 69 h 78"/>
                <a:gd name="T12" fmla="*/ 44 w 87"/>
                <a:gd name="T13" fmla="*/ 71 h 78"/>
                <a:gd name="T14" fmla="*/ 87 w 87"/>
                <a:gd name="T15" fmla="*/ 35 h 78"/>
                <a:gd name="T16" fmla="*/ 44 w 87"/>
                <a:gd name="T17" fmla="*/ 0 h 78"/>
                <a:gd name="T18" fmla="*/ 44 w 87"/>
                <a:gd name="T19" fmla="*/ 65 h 78"/>
                <a:gd name="T20" fmla="*/ 32 w 87"/>
                <a:gd name="T21" fmla="*/ 64 h 78"/>
                <a:gd name="T22" fmla="*/ 30 w 87"/>
                <a:gd name="T23" fmla="*/ 65 h 78"/>
                <a:gd name="T24" fmla="*/ 15 w 87"/>
                <a:gd name="T25" fmla="*/ 70 h 78"/>
                <a:gd name="T26" fmla="*/ 17 w 87"/>
                <a:gd name="T27" fmla="*/ 61 h 78"/>
                <a:gd name="T28" fmla="*/ 15 w 87"/>
                <a:gd name="T29" fmla="*/ 56 h 78"/>
                <a:gd name="T30" fmla="*/ 5 w 87"/>
                <a:gd name="T31" fmla="*/ 35 h 78"/>
                <a:gd name="T32" fmla="*/ 44 w 87"/>
                <a:gd name="T33" fmla="*/ 5 h 78"/>
                <a:gd name="T34" fmla="*/ 82 w 87"/>
                <a:gd name="T35" fmla="*/ 35 h 78"/>
                <a:gd name="T36" fmla="*/ 44 w 87"/>
                <a:gd name="T37" fmla="*/ 6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78">
                  <a:moveTo>
                    <a:pt x="44" y="0"/>
                  </a:moveTo>
                  <a:cubicBezTo>
                    <a:pt x="20" y="0"/>
                    <a:pt x="0" y="16"/>
                    <a:pt x="0" y="35"/>
                  </a:cubicBezTo>
                  <a:cubicBezTo>
                    <a:pt x="0" y="45"/>
                    <a:pt x="4" y="53"/>
                    <a:pt x="12" y="60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5" y="70"/>
                    <a:pt x="39" y="71"/>
                    <a:pt x="44" y="71"/>
                  </a:cubicBezTo>
                  <a:cubicBezTo>
                    <a:pt x="68" y="71"/>
                    <a:pt x="87" y="55"/>
                    <a:pt x="87" y="35"/>
                  </a:cubicBezTo>
                  <a:cubicBezTo>
                    <a:pt x="87" y="16"/>
                    <a:pt x="68" y="0"/>
                    <a:pt x="44" y="0"/>
                  </a:cubicBezTo>
                  <a:close/>
                  <a:moveTo>
                    <a:pt x="44" y="65"/>
                  </a:moveTo>
                  <a:cubicBezTo>
                    <a:pt x="40" y="65"/>
                    <a:pt x="36" y="65"/>
                    <a:pt x="32" y="64"/>
                  </a:cubicBezTo>
                  <a:cubicBezTo>
                    <a:pt x="32" y="64"/>
                    <a:pt x="31" y="64"/>
                    <a:pt x="30" y="65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59"/>
                    <a:pt x="17" y="57"/>
                    <a:pt x="15" y="56"/>
                  </a:cubicBezTo>
                  <a:cubicBezTo>
                    <a:pt x="9" y="50"/>
                    <a:pt x="5" y="43"/>
                    <a:pt x="5" y="35"/>
                  </a:cubicBezTo>
                  <a:cubicBezTo>
                    <a:pt x="5" y="18"/>
                    <a:pt x="22" y="5"/>
                    <a:pt x="44" y="5"/>
                  </a:cubicBezTo>
                  <a:cubicBezTo>
                    <a:pt x="65" y="5"/>
                    <a:pt x="82" y="18"/>
                    <a:pt x="82" y="35"/>
                  </a:cubicBezTo>
                  <a:cubicBezTo>
                    <a:pt x="82" y="52"/>
                    <a:pt x="65" y="65"/>
                    <a:pt x="4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7BC119C-258F-1F92-5EE1-92FA2DEB3B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6465920" y="2212857"/>
            <a:ext cx="222677" cy="226678"/>
            <a:chOff x="8362950" y="4254500"/>
            <a:chExt cx="530225" cy="539751"/>
          </a:xfrm>
          <a:solidFill>
            <a:srgbClr val="FFFFFF"/>
          </a:solidFill>
        </p:grpSpPr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33D2774D-B9D9-2F51-B554-F21E12D0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2950" y="4254500"/>
              <a:ext cx="331787" cy="460375"/>
            </a:xfrm>
            <a:custGeom>
              <a:avLst/>
              <a:gdLst>
                <a:gd name="T0" fmla="*/ 92 w 105"/>
                <a:gd name="T1" fmla="*/ 140 h 146"/>
                <a:gd name="T2" fmla="*/ 7 w 105"/>
                <a:gd name="T3" fmla="*/ 140 h 146"/>
                <a:gd name="T4" fmla="*/ 7 w 105"/>
                <a:gd name="T5" fmla="*/ 140 h 146"/>
                <a:gd name="T6" fmla="*/ 31 w 105"/>
                <a:gd name="T7" fmla="*/ 118 h 146"/>
                <a:gd name="T8" fmla="*/ 31 w 105"/>
                <a:gd name="T9" fmla="*/ 118 h 146"/>
                <a:gd name="T10" fmla="*/ 42 w 105"/>
                <a:gd name="T11" fmla="*/ 110 h 146"/>
                <a:gd name="T12" fmla="*/ 42 w 105"/>
                <a:gd name="T13" fmla="*/ 89 h 146"/>
                <a:gd name="T14" fmla="*/ 42 w 105"/>
                <a:gd name="T15" fmla="*/ 87 h 146"/>
                <a:gd name="T16" fmla="*/ 35 w 105"/>
                <a:gd name="T17" fmla="*/ 72 h 146"/>
                <a:gd name="T18" fmla="*/ 32 w 105"/>
                <a:gd name="T19" fmla="*/ 70 h 146"/>
                <a:gd name="T20" fmla="*/ 25 w 105"/>
                <a:gd name="T21" fmla="*/ 59 h 146"/>
                <a:gd name="T22" fmla="*/ 26 w 105"/>
                <a:gd name="T23" fmla="*/ 51 h 146"/>
                <a:gd name="T24" fmla="*/ 26 w 105"/>
                <a:gd name="T25" fmla="*/ 51 h 146"/>
                <a:gd name="T26" fmla="*/ 29 w 105"/>
                <a:gd name="T27" fmla="*/ 49 h 146"/>
                <a:gd name="T28" fmla="*/ 29 w 105"/>
                <a:gd name="T29" fmla="*/ 46 h 146"/>
                <a:gd name="T30" fmla="*/ 33 w 105"/>
                <a:gd name="T31" fmla="*/ 20 h 146"/>
                <a:gd name="T32" fmla="*/ 61 w 105"/>
                <a:gd name="T33" fmla="*/ 6 h 146"/>
                <a:gd name="T34" fmla="*/ 89 w 105"/>
                <a:gd name="T35" fmla="*/ 20 h 146"/>
                <a:gd name="T36" fmla="*/ 93 w 105"/>
                <a:gd name="T37" fmla="*/ 46 h 146"/>
                <a:gd name="T38" fmla="*/ 94 w 105"/>
                <a:gd name="T39" fmla="*/ 49 h 146"/>
                <a:gd name="T40" fmla="*/ 96 w 105"/>
                <a:gd name="T41" fmla="*/ 51 h 146"/>
                <a:gd name="T42" fmla="*/ 97 w 105"/>
                <a:gd name="T43" fmla="*/ 51 h 146"/>
                <a:gd name="T44" fmla="*/ 97 w 105"/>
                <a:gd name="T45" fmla="*/ 59 h 146"/>
                <a:gd name="T46" fmla="*/ 91 w 105"/>
                <a:gd name="T47" fmla="*/ 70 h 146"/>
                <a:gd name="T48" fmla="*/ 88 w 105"/>
                <a:gd name="T49" fmla="*/ 72 h 146"/>
                <a:gd name="T50" fmla="*/ 81 w 105"/>
                <a:gd name="T51" fmla="*/ 87 h 146"/>
                <a:gd name="T52" fmla="*/ 81 w 105"/>
                <a:gd name="T53" fmla="*/ 89 h 146"/>
                <a:gd name="T54" fmla="*/ 81 w 105"/>
                <a:gd name="T55" fmla="*/ 110 h 146"/>
                <a:gd name="T56" fmla="*/ 89 w 105"/>
                <a:gd name="T57" fmla="*/ 117 h 146"/>
                <a:gd name="T58" fmla="*/ 90 w 105"/>
                <a:gd name="T59" fmla="*/ 110 h 146"/>
                <a:gd name="T60" fmla="*/ 87 w 105"/>
                <a:gd name="T61" fmla="*/ 107 h 146"/>
                <a:gd name="T62" fmla="*/ 87 w 105"/>
                <a:gd name="T63" fmla="*/ 90 h 146"/>
                <a:gd name="T64" fmla="*/ 87 w 105"/>
                <a:gd name="T65" fmla="*/ 90 h 146"/>
                <a:gd name="T66" fmla="*/ 93 w 105"/>
                <a:gd name="T67" fmla="*/ 76 h 146"/>
                <a:gd name="T68" fmla="*/ 93 w 105"/>
                <a:gd name="T69" fmla="*/ 76 h 146"/>
                <a:gd name="T70" fmla="*/ 104 w 105"/>
                <a:gd name="T71" fmla="*/ 60 h 146"/>
                <a:gd name="T72" fmla="*/ 102 w 105"/>
                <a:gd name="T73" fmla="*/ 47 h 146"/>
                <a:gd name="T74" fmla="*/ 100 w 105"/>
                <a:gd name="T75" fmla="*/ 45 h 146"/>
                <a:gd name="T76" fmla="*/ 100 w 105"/>
                <a:gd name="T77" fmla="*/ 45 h 146"/>
                <a:gd name="T78" fmla="*/ 100 w 105"/>
                <a:gd name="T79" fmla="*/ 45 h 146"/>
                <a:gd name="T80" fmla="*/ 95 w 105"/>
                <a:gd name="T81" fmla="*/ 16 h 146"/>
                <a:gd name="T82" fmla="*/ 61 w 105"/>
                <a:gd name="T83" fmla="*/ 0 h 146"/>
                <a:gd name="T84" fmla="*/ 28 w 105"/>
                <a:gd name="T85" fmla="*/ 16 h 146"/>
                <a:gd name="T86" fmla="*/ 22 w 105"/>
                <a:gd name="T87" fmla="*/ 45 h 146"/>
                <a:gd name="T88" fmla="*/ 22 w 105"/>
                <a:gd name="T89" fmla="*/ 45 h 146"/>
                <a:gd name="T90" fmla="*/ 22 w 105"/>
                <a:gd name="T91" fmla="*/ 45 h 146"/>
                <a:gd name="T92" fmla="*/ 21 w 105"/>
                <a:gd name="T93" fmla="*/ 47 h 146"/>
                <a:gd name="T94" fmla="*/ 19 w 105"/>
                <a:gd name="T95" fmla="*/ 61 h 146"/>
                <a:gd name="T96" fmla="*/ 29 w 105"/>
                <a:gd name="T97" fmla="*/ 76 h 146"/>
                <a:gd name="T98" fmla="*/ 29 w 105"/>
                <a:gd name="T99" fmla="*/ 76 h 146"/>
                <a:gd name="T100" fmla="*/ 36 w 105"/>
                <a:gd name="T101" fmla="*/ 90 h 146"/>
                <a:gd name="T102" fmla="*/ 36 w 105"/>
                <a:gd name="T103" fmla="*/ 90 h 146"/>
                <a:gd name="T104" fmla="*/ 36 w 105"/>
                <a:gd name="T105" fmla="*/ 107 h 146"/>
                <a:gd name="T106" fmla="*/ 28 w 105"/>
                <a:gd name="T107" fmla="*/ 112 h 146"/>
                <a:gd name="T108" fmla="*/ 27 w 105"/>
                <a:gd name="T109" fmla="*/ 112 h 146"/>
                <a:gd name="T110" fmla="*/ 0 w 105"/>
                <a:gd name="T111" fmla="*/ 142 h 146"/>
                <a:gd name="T112" fmla="*/ 3 w 105"/>
                <a:gd name="T113" fmla="*/ 146 h 146"/>
                <a:gd name="T114" fmla="*/ 95 w 105"/>
                <a:gd name="T115" fmla="*/ 146 h 146"/>
                <a:gd name="T116" fmla="*/ 92 w 105"/>
                <a:gd name="T117" fmla="*/ 14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5" h="146">
                  <a:moveTo>
                    <a:pt x="92" y="140"/>
                  </a:moveTo>
                  <a:cubicBezTo>
                    <a:pt x="7" y="140"/>
                    <a:pt x="7" y="140"/>
                    <a:pt x="7" y="140"/>
                  </a:cubicBezTo>
                  <a:cubicBezTo>
                    <a:pt x="7" y="140"/>
                    <a:pt x="7" y="140"/>
                    <a:pt x="7" y="140"/>
                  </a:cubicBezTo>
                  <a:cubicBezTo>
                    <a:pt x="9" y="129"/>
                    <a:pt x="16" y="122"/>
                    <a:pt x="31" y="118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6" y="116"/>
                    <a:pt x="40" y="114"/>
                    <a:pt x="42" y="110"/>
                  </a:cubicBezTo>
                  <a:cubicBezTo>
                    <a:pt x="45" y="103"/>
                    <a:pt x="42" y="91"/>
                    <a:pt x="42" y="89"/>
                  </a:cubicBezTo>
                  <a:cubicBezTo>
                    <a:pt x="42" y="88"/>
                    <a:pt x="42" y="88"/>
                    <a:pt x="42" y="87"/>
                  </a:cubicBezTo>
                  <a:cubicBezTo>
                    <a:pt x="39" y="83"/>
                    <a:pt x="37" y="78"/>
                    <a:pt x="35" y="72"/>
                  </a:cubicBezTo>
                  <a:cubicBezTo>
                    <a:pt x="34" y="71"/>
                    <a:pt x="33" y="70"/>
                    <a:pt x="32" y="70"/>
                  </a:cubicBezTo>
                  <a:cubicBezTo>
                    <a:pt x="30" y="70"/>
                    <a:pt x="26" y="65"/>
                    <a:pt x="25" y="59"/>
                  </a:cubicBezTo>
                  <a:cubicBezTo>
                    <a:pt x="24" y="53"/>
                    <a:pt x="25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7" y="51"/>
                    <a:pt x="28" y="50"/>
                    <a:pt x="29" y="49"/>
                  </a:cubicBezTo>
                  <a:cubicBezTo>
                    <a:pt x="30" y="49"/>
                    <a:pt x="30" y="47"/>
                    <a:pt x="29" y="46"/>
                  </a:cubicBezTo>
                  <a:cubicBezTo>
                    <a:pt x="26" y="37"/>
                    <a:pt x="28" y="27"/>
                    <a:pt x="33" y="20"/>
                  </a:cubicBezTo>
                  <a:cubicBezTo>
                    <a:pt x="39" y="11"/>
                    <a:pt x="49" y="6"/>
                    <a:pt x="61" y="6"/>
                  </a:cubicBezTo>
                  <a:cubicBezTo>
                    <a:pt x="73" y="6"/>
                    <a:pt x="83" y="11"/>
                    <a:pt x="89" y="20"/>
                  </a:cubicBezTo>
                  <a:cubicBezTo>
                    <a:pt x="95" y="27"/>
                    <a:pt x="96" y="37"/>
                    <a:pt x="93" y="46"/>
                  </a:cubicBezTo>
                  <a:cubicBezTo>
                    <a:pt x="93" y="47"/>
                    <a:pt x="93" y="49"/>
                    <a:pt x="94" y="49"/>
                  </a:cubicBezTo>
                  <a:cubicBezTo>
                    <a:pt x="94" y="50"/>
                    <a:pt x="95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8" y="53"/>
                    <a:pt x="97" y="59"/>
                  </a:cubicBezTo>
                  <a:cubicBezTo>
                    <a:pt x="96" y="65"/>
                    <a:pt x="93" y="70"/>
                    <a:pt x="91" y="70"/>
                  </a:cubicBezTo>
                  <a:cubicBezTo>
                    <a:pt x="89" y="70"/>
                    <a:pt x="88" y="71"/>
                    <a:pt x="88" y="72"/>
                  </a:cubicBezTo>
                  <a:cubicBezTo>
                    <a:pt x="86" y="78"/>
                    <a:pt x="84" y="83"/>
                    <a:pt x="81" y="87"/>
                  </a:cubicBezTo>
                  <a:cubicBezTo>
                    <a:pt x="81" y="88"/>
                    <a:pt x="81" y="88"/>
                    <a:pt x="81" y="89"/>
                  </a:cubicBezTo>
                  <a:cubicBezTo>
                    <a:pt x="80" y="91"/>
                    <a:pt x="78" y="103"/>
                    <a:pt x="81" y="110"/>
                  </a:cubicBezTo>
                  <a:cubicBezTo>
                    <a:pt x="82" y="113"/>
                    <a:pt x="85" y="115"/>
                    <a:pt x="89" y="117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88" y="109"/>
                    <a:pt x="87" y="108"/>
                    <a:pt x="87" y="107"/>
                  </a:cubicBezTo>
                  <a:cubicBezTo>
                    <a:pt x="85" y="104"/>
                    <a:pt x="86" y="95"/>
                    <a:pt x="87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89" y="86"/>
                    <a:pt x="92" y="81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9" y="74"/>
                    <a:pt x="103" y="67"/>
                    <a:pt x="104" y="60"/>
                  </a:cubicBezTo>
                  <a:cubicBezTo>
                    <a:pt x="105" y="54"/>
                    <a:pt x="104" y="49"/>
                    <a:pt x="102" y="47"/>
                  </a:cubicBezTo>
                  <a:cubicBezTo>
                    <a:pt x="102" y="46"/>
                    <a:pt x="101" y="46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3" y="35"/>
                    <a:pt x="101" y="24"/>
                    <a:pt x="95" y="16"/>
                  </a:cubicBezTo>
                  <a:cubicBezTo>
                    <a:pt x="87" y="6"/>
                    <a:pt x="76" y="0"/>
                    <a:pt x="61" y="0"/>
                  </a:cubicBezTo>
                  <a:cubicBezTo>
                    <a:pt x="47" y="0"/>
                    <a:pt x="35" y="6"/>
                    <a:pt x="28" y="16"/>
                  </a:cubicBezTo>
                  <a:cubicBezTo>
                    <a:pt x="22" y="24"/>
                    <a:pt x="20" y="3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6"/>
                    <a:pt x="21" y="46"/>
                    <a:pt x="21" y="47"/>
                  </a:cubicBezTo>
                  <a:cubicBezTo>
                    <a:pt x="18" y="49"/>
                    <a:pt x="18" y="54"/>
                    <a:pt x="19" y="61"/>
                  </a:cubicBezTo>
                  <a:cubicBezTo>
                    <a:pt x="20" y="67"/>
                    <a:pt x="24" y="74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1" y="81"/>
                    <a:pt x="33" y="86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2"/>
                    <a:pt x="38" y="103"/>
                    <a:pt x="36" y="107"/>
                  </a:cubicBezTo>
                  <a:cubicBezTo>
                    <a:pt x="35" y="109"/>
                    <a:pt x="32" y="110"/>
                    <a:pt x="28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18" y="116"/>
                    <a:pt x="0" y="123"/>
                    <a:pt x="0" y="142"/>
                  </a:cubicBezTo>
                  <a:cubicBezTo>
                    <a:pt x="0" y="142"/>
                    <a:pt x="0" y="146"/>
                    <a:pt x="3" y="146"/>
                  </a:cubicBezTo>
                  <a:cubicBezTo>
                    <a:pt x="95" y="146"/>
                    <a:pt x="95" y="146"/>
                    <a:pt x="95" y="146"/>
                  </a:cubicBezTo>
                  <a:lnTo>
                    <a:pt x="92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A04BCCB2-6BCC-3C5F-9B0F-71E15192AF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8538" y="4522788"/>
              <a:ext cx="274637" cy="271463"/>
            </a:xfrm>
            <a:custGeom>
              <a:avLst/>
              <a:gdLst>
                <a:gd name="T0" fmla="*/ 49 w 87"/>
                <a:gd name="T1" fmla="*/ 0 h 86"/>
                <a:gd name="T2" fmla="*/ 12 w 87"/>
                <a:gd name="T3" fmla="*/ 37 h 86"/>
                <a:gd name="T4" fmla="*/ 21 w 87"/>
                <a:gd name="T5" fmla="*/ 62 h 86"/>
                <a:gd name="T6" fmla="*/ 1 w 87"/>
                <a:gd name="T7" fmla="*/ 81 h 86"/>
                <a:gd name="T8" fmla="*/ 0 w 87"/>
                <a:gd name="T9" fmla="*/ 83 h 86"/>
                <a:gd name="T10" fmla="*/ 3 w 87"/>
                <a:gd name="T11" fmla="*/ 86 h 86"/>
                <a:gd name="T12" fmla="*/ 5 w 87"/>
                <a:gd name="T13" fmla="*/ 85 h 86"/>
                <a:gd name="T14" fmla="*/ 25 w 87"/>
                <a:gd name="T15" fmla="*/ 66 h 86"/>
                <a:gd name="T16" fmla="*/ 49 w 87"/>
                <a:gd name="T17" fmla="*/ 75 h 86"/>
                <a:gd name="T18" fmla="*/ 87 w 87"/>
                <a:gd name="T19" fmla="*/ 37 h 86"/>
                <a:gd name="T20" fmla="*/ 49 w 87"/>
                <a:gd name="T21" fmla="*/ 0 h 86"/>
                <a:gd name="T22" fmla="*/ 81 w 87"/>
                <a:gd name="T23" fmla="*/ 37 h 86"/>
                <a:gd name="T24" fmla="*/ 49 w 87"/>
                <a:gd name="T25" fmla="*/ 69 h 86"/>
                <a:gd name="T26" fmla="*/ 18 w 87"/>
                <a:gd name="T27" fmla="*/ 37 h 86"/>
                <a:gd name="T28" fmla="*/ 49 w 87"/>
                <a:gd name="T29" fmla="*/ 6 h 86"/>
                <a:gd name="T30" fmla="*/ 81 w 87"/>
                <a:gd name="T31" fmla="*/ 3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7" h="86">
                  <a:moveTo>
                    <a:pt x="49" y="0"/>
                  </a:moveTo>
                  <a:cubicBezTo>
                    <a:pt x="28" y="0"/>
                    <a:pt x="12" y="16"/>
                    <a:pt x="12" y="37"/>
                  </a:cubicBezTo>
                  <a:cubicBezTo>
                    <a:pt x="12" y="46"/>
                    <a:pt x="15" y="55"/>
                    <a:pt x="21" y="62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0" y="82"/>
                    <a:pt x="0" y="82"/>
                    <a:pt x="0" y="83"/>
                  </a:cubicBezTo>
                  <a:cubicBezTo>
                    <a:pt x="0" y="85"/>
                    <a:pt x="1" y="86"/>
                    <a:pt x="3" y="86"/>
                  </a:cubicBezTo>
                  <a:cubicBezTo>
                    <a:pt x="4" y="86"/>
                    <a:pt x="5" y="86"/>
                    <a:pt x="5" y="85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32" y="72"/>
                    <a:pt x="40" y="75"/>
                    <a:pt x="49" y="75"/>
                  </a:cubicBezTo>
                  <a:cubicBezTo>
                    <a:pt x="70" y="75"/>
                    <a:pt x="87" y="58"/>
                    <a:pt x="87" y="37"/>
                  </a:cubicBezTo>
                  <a:cubicBezTo>
                    <a:pt x="87" y="16"/>
                    <a:pt x="70" y="0"/>
                    <a:pt x="49" y="0"/>
                  </a:cubicBezTo>
                  <a:close/>
                  <a:moveTo>
                    <a:pt x="81" y="37"/>
                  </a:moveTo>
                  <a:cubicBezTo>
                    <a:pt x="81" y="55"/>
                    <a:pt x="67" y="69"/>
                    <a:pt x="49" y="69"/>
                  </a:cubicBezTo>
                  <a:cubicBezTo>
                    <a:pt x="32" y="69"/>
                    <a:pt x="18" y="55"/>
                    <a:pt x="18" y="37"/>
                  </a:cubicBezTo>
                  <a:cubicBezTo>
                    <a:pt x="18" y="20"/>
                    <a:pt x="32" y="6"/>
                    <a:pt x="49" y="6"/>
                  </a:cubicBezTo>
                  <a:cubicBezTo>
                    <a:pt x="67" y="6"/>
                    <a:pt x="81" y="20"/>
                    <a:pt x="8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807AE68-8807-876C-FC3A-9F7C103B6D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3196711" y="2218033"/>
            <a:ext cx="229343" cy="222677"/>
            <a:chOff x="8374063" y="4395788"/>
            <a:chExt cx="546100" cy="530226"/>
          </a:xfrm>
          <a:solidFill>
            <a:srgbClr val="FFFFFF"/>
          </a:solidFill>
        </p:grpSpPr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031727AB-236C-19D9-FA63-48868ECAB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4395788"/>
              <a:ext cx="333375" cy="466725"/>
            </a:xfrm>
            <a:custGeom>
              <a:avLst/>
              <a:gdLst>
                <a:gd name="T0" fmla="*/ 7 w 106"/>
                <a:gd name="T1" fmla="*/ 141 h 148"/>
                <a:gd name="T2" fmla="*/ 7 w 106"/>
                <a:gd name="T3" fmla="*/ 141 h 148"/>
                <a:gd name="T4" fmla="*/ 31 w 106"/>
                <a:gd name="T5" fmla="*/ 119 h 148"/>
                <a:gd name="T6" fmla="*/ 31 w 106"/>
                <a:gd name="T7" fmla="*/ 119 h 148"/>
                <a:gd name="T8" fmla="*/ 43 w 106"/>
                <a:gd name="T9" fmla="*/ 111 h 148"/>
                <a:gd name="T10" fmla="*/ 43 w 106"/>
                <a:gd name="T11" fmla="*/ 89 h 148"/>
                <a:gd name="T12" fmla="*/ 42 w 106"/>
                <a:gd name="T13" fmla="*/ 88 h 148"/>
                <a:gd name="T14" fmla="*/ 36 w 106"/>
                <a:gd name="T15" fmla="*/ 73 h 148"/>
                <a:gd name="T16" fmla="*/ 32 w 106"/>
                <a:gd name="T17" fmla="*/ 70 h 148"/>
                <a:gd name="T18" fmla="*/ 26 w 106"/>
                <a:gd name="T19" fmla="*/ 60 h 148"/>
                <a:gd name="T20" fmla="*/ 26 w 106"/>
                <a:gd name="T21" fmla="*/ 51 h 148"/>
                <a:gd name="T22" fmla="*/ 27 w 106"/>
                <a:gd name="T23" fmla="*/ 51 h 148"/>
                <a:gd name="T24" fmla="*/ 30 w 106"/>
                <a:gd name="T25" fmla="*/ 50 h 148"/>
                <a:gd name="T26" fmla="*/ 30 w 106"/>
                <a:gd name="T27" fmla="*/ 47 h 148"/>
                <a:gd name="T28" fmla="*/ 34 w 106"/>
                <a:gd name="T29" fmla="*/ 20 h 148"/>
                <a:gd name="T30" fmla="*/ 62 w 106"/>
                <a:gd name="T31" fmla="*/ 6 h 148"/>
                <a:gd name="T32" fmla="*/ 91 w 106"/>
                <a:gd name="T33" fmla="*/ 20 h 148"/>
                <a:gd name="T34" fmla="*/ 95 w 106"/>
                <a:gd name="T35" fmla="*/ 47 h 148"/>
                <a:gd name="T36" fmla="*/ 95 w 106"/>
                <a:gd name="T37" fmla="*/ 50 h 148"/>
                <a:gd name="T38" fmla="*/ 98 w 106"/>
                <a:gd name="T39" fmla="*/ 51 h 148"/>
                <a:gd name="T40" fmla="*/ 99 w 106"/>
                <a:gd name="T41" fmla="*/ 51 h 148"/>
                <a:gd name="T42" fmla="*/ 99 w 106"/>
                <a:gd name="T43" fmla="*/ 60 h 148"/>
                <a:gd name="T44" fmla="*/ 92 w 106"/>
                <a:gd name="T45" fmla="*/ 70 h 148"/>
                <a:gd name="T46" fmla="*/ 89 w 106"/>
                <a:gd name="T47" fmla="*/ 73 h 148"/>
                <a:gd name="T48" fmla="*/ 82 w 106"/>
                <a:gd name="T49" fmla="*/ 88 h 148"/>
                <a:gd name="T50" fmla="*/ 82 w 106"/>
                <a:gd name="T51" fmla="*/ 89 h 148"/>
                <a:gd name="T52" fmla="*/ 82 w 106"/>
                <a:gd name="T53" fmla="*/ 111 h 148"/>
                <a:gd name="T54" fmla="*/ 83 w 106"/>
                <a:gd name="T55" fmla="*/ 113 h 148"/>
                <a:gd name="T56" fmla="*/ 88 w 106"/>
                <a:gd name="T57" fmla="*/ 107 h 148"/>
                <a:gd name="T58" fmla="*/ 88 w 106"/>
                <a:gd name="T59" fmla="*/ 91 h 148"/>
                <a:gd name="T60" fmla="*/ 88 w 106"/>
                <a:gd name="T61" fmla="*/ 91 h 148"/>
                <a:gd name="T62" fmla="*/ 95 w 106"/>
                <a:gd name="T63" fmla="*/ 77 h 148"/>
                <a:gd name="T64" fmla="*/ 95 w 106"/>
                <a:gd name="T65" fmla="*/ 77 h 148"/>
                <a:gd name="T66" fmla="*/ 105 w 106"/>
                <a:gd name="T67" fmla="*/ 61 h 148"/>
                <a:gd name="T68" fmla="*/ 104 w 106"/>
                <a:gd name="T69" fmla="*/ 47 h 148"/>
                <a:gd name="T70" fmla="*/ 102 w 106"/>
                <a:gd name="T71" fmla="*/ 46 h 148"/>
                <a:gd name="T72" fmla="*/ 102 w 106"/>
                <a:gd name="T73" fmla="*/ 46 h 148"/>
                <a:gd name="T74" fmla="*/ 102 w 106"/>
                <a:gd name="T75" fmla="*/ 45 h 148"/>
                <a:gd name="T76" fmla="*/ 96 w 106"/>
                <a:gd name="T77" fmla="*/ 16 h 148"/>
                <a:gd name="T78" fmla="*/ 62 w 106"/>
                <a:gd name="T79" fmla="*/ 0 h 148"/>
                <a:gd name="T80" fmla="*/ 29 w 106"/>
                <a:gd name="T81" fmla="*/ 16 h 148"/>
                <a:gd name="T82" fmla="*/ 23 w 106"/>
                <a:gd name="T83" fmla="*/ 45 h 148"/>
                <a:gd name="T84" fmla="*/ 23 w 106"/>
                <a:gd name="T85" fmla="*/ 46 h 148"/>
                <a:gd name="T86" fmla="*/ 23 w 106"/>
                <a:gd name="T87" fmla="*/ 46 h 148"/>
                <a:gd name="T88" fmla="*/ 21 w 106"/>
                <a:gd name="T89" fmla="*/ 47 h 148"/>
                <a:gd name="T90" fmla="*/ 19 w 106"/>
                <a:gd name="T91" fmla="*/ 61 h 148"/>
                <a:gd name="T92" fmla="*/ 30 w 106"/>
                <a:gd name="T93" fmla="*/ 77 h 148"/>
                <a:gd name="T94" fmla="*/ 30 w 106"/>
                <a:gd name="T95" fmla="*/ 77 h 148"/>
                <a:gd name="T96" fmla="*/ 36 w 106"/>
                <a:gd name="T97" fmla="*/ 91 h 148"/>
                <a:gd name="T98" fmla="*/ 36 w 106"/>
                <a:gd name="T99" fmla="*/ 91 h 148"/>
                <a:gd name="T100" fmla="*/ 37 w 106"/>
                <a:gd name="T101" fmla="*/ 108 h 148"/>
                <a:gd name="T102" fmla="*/ 29 w 106"/>
                <a:gd name="T103" fmla="*/ 113 h 148"/>
                <a:gd name="T104" fmla="*/ 28 w 106"/>
                <a:gd name="T105" fmla="*/ 113 h 148"/>
                <a:gd name="T106" fmla="*/ 0 w 106"/>
                <a:gd name="T107" fmla="*/ 144 h 148"/>
                <a:gd name="T108" fmla="*/ 4 w 106"/>
                <a:gd name="T109" fmla="*/ 148 h 148"/>
                <a:gd name="T110" fmla="*/ 90 w 106"/>
                <a:gd name="T111" fmla="*/ 148 h 148"/>
                <a:gd name="T112" fmla="*/ 85 w 106"/>
                <a:gd name="T113" fmla="*/ 141 h 148"/>
                <a:gd name="T114" fmla="*/ 7 w 106"/>
                <a:gd name="T115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" h="148">
                  <a:moveTo>
                    <a:pt x="7" y="141"/>
                  </a:moveTo>
                  <a:cubicBezTo>
                    <a:pt x="7" y="141"/>
                    <a:pt x="7" y="141"/>
                    <a:pt x="7" y="141"/>
                  </a:cubicBezTo>
                  <a:cubicBezTo>
                    <a:pt x="9" y="131"/>
                    <a:pt x="17" y="123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7" y="117"/>
                    <a:pt x="41" y="115"/>
                    <a:pt x="43" y="111"/>
                  </a:cubicBezTo>
                  <a:cubicBezTo>
                    <a:pt x="45" y="104"/>
                    <a:pt x="43" y="92"/>
                    <a:pt x="43" y="89"/>
                  </a:cubicBezTo>
                  <a:cubicBezTo>
                    <a:pt x="43" y="89"/>
                    <a:pt x="43" y="89"/>
                    <a:pt x="42" y="88"/>
                  </a:cubicBezTo>
                  <a:cubicBezTo>
                    <a:pt x="40" y="84"/>
                    <a:pt x="37" y="79"/>
                    <a:pt x="36" y="73"/>
                  </a:cubicBezTo>
                  <a:cubicBezTo>
                    <a:pt x="35" y="71"/>
                    <a:pt x="34" y="70"/>
                    <a:pt x="32" y="70"/>
                  </a:cubicBezTo>
                  <a:cubicBezTo>
                    <a:pt x="30" y="70"/>
                    <a:pt x="27" y="66"/>
                    <a:pt x="26" y="60"/>
                  </a:cubicBezTo>
                  <a:cubicBezTo>
                    <a:pt x="25" y="53"/>
                    <a:pt x="26" y="52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28" y="51"/>
                    <a:pt x="29" y="51"/>
                    <a:pt x="30" y="50"/>
                  </a:cubicBezTo>
                  <a:cubicBezTo>
                    <a:pt x="30" y="49"/>
                    <a:pt x="30" y="48"/>
                    <a:pt x="30" y="47"/>
                  </a:cubicBezTo>
                  <a:cubicBezTo>
                    <a:pt x="27" y="37"/>
                    <a:pt x="28" y="27"/>
                    <a:pt x="34" y="20"/>
                  </a:cubicBezTo>
                  <a:cubicBezTo>
                    <a:pt x="40" y="11"/>
                    <a:pt x="50" y="6"/>
                    <a:pt x="62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6" y="27"/>
                    <a:pt x="98" y="37"/>
                    <a:pt x="95" y="47"/>
                  </a:cubicBezTo>
                  <a:cubicBezTo>
                    <a:pt x="94" y="48"/>
                    <a:pt x="95" y="49"/>
                    <a:pt x="95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8" y="51"/>
                    <a:pt x="98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4" y="70"/>
                    <a:pt x="92" y="70"/>
                  </a:cubicBezTo>
                  <a:cubicBezTo>
                    <a:pt x="91" y="70"/>
                    <a:pt x="90" y="71"/>
                    <a:pt x="89" y="73"/>
                  </a:cubicBezTo>
                  <a:cubicBezTo>
                    <a:pt x="87" y="79"/>
                    <a:pt x="85" y="84"/>
                    <a:pt x="82" y="88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1" y="92"/>
                    <a:pt x="79" y="104"/>
                    <a:pt x="82" y="111"/>
                  </a:cubicBezTo>
                  <a:cubicBezTo>
                    <a:pt x="82" y="112"/>
                    <a:pt x="83" y="113"/>
                    <a:pt x="83" y="113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3"/>
                    <a:pt x="88" y="95"/>
                    <a:pt x="88" y="91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91" y="87"/>
                    <a:pt x="93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4" y="67"/>
                    <a:pt x="105" y="61"/>
                  </a:cubicBezTo>
                  <a:cubicBezTo>
                    <a:pt x="106" y="54"/>
                    <a:pt x="106" y="50"/>
                    <a:pt x="104" y="47"/>
                  </a:cubicBezTo>
                  <a:cubicBezTo>
                    <a:pt x="103" y="46"/>
                    <a:pt x="103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4" y="35"/>
                    <a:pt x="102" y="24"/>
                    <a:pt x="96" y="16"/>
                  </a:cubicBezTo>
                  <a:cubicBezTo>
                    <a:pt x="89" y="5"/>
                    <a:pt x="77" y="0"/>
                    <a:pt x="62" y="0"/>
                  </a:cubicBezTo>
                  <a:cubicBezTo>
                    <a:pt x="48" y="0"/>
                    <a:pt x="36" y="5"/>
                    <a:pt x="29" y="16"/>
                  </a:cubicBezTo>
                  <a:cubicBezTo>
                    <a:pt x="23" y="24"/>
                    <a:pt x="20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2" y="46"/>
                    <a:pt x="22" y="46"/>
                    <a:pt x="21" y="47"/>
                  </a:cubicBezTo>
                  <a:cubicBezTo>
                    <a:pt x="19" y="50"/>
                    <a:pt x="18" y="54"/>
                    <a:pt x="19" y="61"/>
                  </a:cubicBezTo>
                  <a:cubicBezTo>
                    <a:pt x="20" y="67"/>
                    <a:pt x="24" y="75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2" y="82"/>
                    <a:pt x="34" y="87"/>
                    <a:pt x="36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7" y="92"/>
                    <a:pt x="38" y="104"/>
                    <a:pt x="37" y="108"/>
                  </a:cubicBezTo>
                  <a:cubicBezTo>
                    <a:pt x="36" y="110"/>
                    <a:pt x="32" y="111"/>
                    <a:pt x="29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8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7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365CEB2A-D2C1-CCFD-23DD-0AB280ABC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59326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78606FA3-E01D-9EAA-F306-C669E7597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89488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4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813DB4FC-7C77-B089-AEB4-FEA4D095E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824413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0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8920C81F-5506-96CD-4EB8-877FCF490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525" y="4679951"/>
              <a:ext cx="274638" cy="246063"/>
            </a:xfrm>
            <a:custGeom>
              <a:avLst/>
              <a:gdLst>
                <a:gd name="T0" fmla="*/ 44 w 87"/>
                <a:gd name="T1" fmla="*/ 0 h 78"/>
                <a:gd name="T2" fmla="*/ 0 w 87"/>
                <a:gd name="T3" fmla="*/ 35 h 78"/>
                <a:gd name="T4" fmla="*/ 12 w 87"/>
                <a:gd name="T5" fmla="*/ 60 h 78"/>
                <a:gd name="T6" fmla="*/ 7 w 87"/>
                <a:gd name="T7" fmla="*/ 78 h 78"/>
                <a:gd name="T8" fmla="*/ 32 w 87"/>
                <a:gd name="T9" fmla="*/ 69 h 78"/>
                <a:gd name="T10" fmla="*/ 32 w 87"/>
                <a:gd name="T11" fmla="*/ 69 h 78"/>
                <a:gd name="T12" fmla="*/ 44 w 87"/>
                <a:gd name="T13" fmla="*/ 71 h 78"/>
                <a:gd name="T14" fmla="*/ 87 w 87"/>
                <a:gd name="T15" fmla="*/ 35 h 78"/>
                <a:gd name="T16" fmla="*/ 44 w 87"/>
                <a:gd name="T17" fmla="*/ 0 h 78"/>
                <a:gd name="T18" fmla="*/ 44 w 87"/>
                <a:gd name="T19" fmla="*/ 65 h 78"/>
                <a:gd name="T20" fmla="*/ 32 w 87"/>
                <a:gd name="T21" fmla="*/ 64 h 78"/>
                <a:gd name="T22" fmla="*/ 30 w 87"/>
                <a:gd name="T23" fmla="*/ 65 h 78"/>
                <a:gd name="T24" fmla="*/ 15 w 87"/>
                <a:gd name="T25" fmla="*/ 70 h 78"/>
                <a:gd name="T26" fmla="*/ 17 w 87"/>
                <a:gd name="T27" fmla="*/ 61 h 78"/>
                <a:gd name="T28" fmla="*/ 15 w 87"/>
                <a:gd name="T29" fmla="*/ 56 h 78"/>
                <a:gd name="T30" fmla="*/ 5 w 87"/>
                <a:gd name="T31" fmla="*/ 35 h 78"/>
                <a:gd name="T32" fmla="*/ 44 w 87"/>
                <a:gd name="T33" fmla="*/ 5 h 78"/>
                <a:gd name="T34" fmla="*/ 82 w 87"/>
                <a:gd name="T35" fmla="*/ 35 h 78"/>
                <a:gd name="T36" fmla="*/ 44 w 87"/>
                <a:gd name="T37" fmla="*/ 6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78">
                  <a:moveTo>
                    <a:pt x="44" y="0"/>
                  </a:moveTo>
                  <a:cubicBezTo>
                    <a:pt x="20" y="0"/>
                    <a:pt x="0" y="16"/>
                    <a:pt x="0" y="35"/>
                  </a:cubicBezTo>
                  <a:cubicBezTo>
                    <a:pt x="0" y="45"/>
                    <a:pt x="4" y="53"/>
                    <a:pt x="12" y="60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5" y="70"/>
                    <a:pt x="39" y="71"/>
                    <a:pt x="44" y="71"/>
                  </a:cubicBezTo>
                  <a:cubicBezTo>
                    <a:pt x="68" y="71"/>
                    <a:pt x="87" y="55"/>
                    <a:pt x="87" y="35"/>
                  </a:cubicBezTo>
                  <a:cubicBezTo>
                    <a:pt x="87" y="16"/>
                    <a:pt x="68" y="0"/>
                    <a:pt x="44" y="0"/>
                  </a:cubicBezTo>
                  <a:close/>
                  <a:moveTo>
                    <a:pt x="44" y="65"/>
                  </a:moveTo>
                  <a:cubicBezTo>
                    <a:pt x="40" y="65"/>
                    <a:pt x="36" y="65"/>
                    <a:pt x="32" y="64"/>
                  </a:cubicBezTo>
                  <a:cubicBezTo>
                    <a:pt x="32" y="64"/>
                    <a:pt x="31" y="64"/>
                    <a:pt x="30" y="65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59"/>
                    <a:pt x="17" y="57"/>
                    <a:pt x="15" y="56"/>
                  </a:cubicBezTo>
                  <a:cubicBezTo>
                    <a:pt x="9" y="50"/>
                    <a:pt x="5" y="43"/>
                    <a:pt x="5" y="35"/>
                  </a:cubicBezTo>
                  <a:cubicBezTo>
                    <a:pt x="5" y="18"/>
                    <a:pt x="22" y="5"/>
                    <a:pt x="44" y="5"/>
                  </a:cubicBezTo>
                  <a:cubicBezTo>
                    <a:pt x="65" y="5"/>
                    <a:pt x="82" y="18"/>
                    <a:pt x="82" y="35"/>
                  </a:cubicBezTo>
                  <a:cubicBezTo>
                    <a:pt x="82" y="52"/>
                    <a:pt x="65" y="65"/>
                    <a:pt x="4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F899005-72D1-3469-5FEF-892E118161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4813772" y="2217757"/>
            <a:ext cx="219574" cy="228129"/>
            <a:chOff x="4068314" y="5534607"/>
            <a:chExt cx="514603" cy="534653"/>
          </a:xfrm>
          <a:solidFill>
            <a:srgbClr val="FFFFFF"/>
          </a:solidFill>
        </p:grpSpPr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1F4AD19A-5914-E315-6990-307333F2C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314" y="5534607"/>
              <a:ext cx="331485" cy="461138"/>
            </a:xfrm>
            <a:custGeom>
              <a:avLst/>
              <a:gdLst>
                <a:gd name="T0" fmla="*/ 7 w 105"/>
                <a:gd name="T1" fmla="*/ 139 h 146"/>
                <a:gd name="T2" fmla="*/ 7 w 105"/>
                <a:gd name="T3" fmla="*/ 139 h 146"/>
                <a:gd name="T4" fmla="*/ 31 w 105"/>
                <a:gd name="T5" fmla="*/ 117 h 146"/>
                <a:gd name="T6" fmla="*/ 31 w 105"/>
                <a:gd name="T7" fmla="*/ 117 h 146"/>
                <a:gd name="T8" fmla="*/ 42 w 105"/>
                <a:gd name="T9" fmla="*/ 109 h 146"/>
                <a:gd name="T10" fmla="*/ 42 w 105"/>
                <a:gd name="T11" fmla="*/ 88 h 146"/>
                <a:gd name="T12" fmla="*/ 42 w 105"/>
                <a:gd name="T13" fmla="*/ 87 h 146"/>
                <a:gd name="T14" fmla="*/ 35 w 105"/>
                <a:gd name="T15" fmla="*/ 72 h 146"/>
                <a:gd name="T16" fmla="*/ 32 w 105"/>
                <a:gd name="T17" fmla="*/ 69 h 146"/>
                <a:gd name="T18" fmla="*/ 26 w 105"/>
                <a:gd name="T19" fmla="*/ 59 h 146"/>
                <a:gd name="T20" fmla="*/ 26 w 105"/>
                <a:gd name="T21" fmla="*/ 51 h 146"/>
                <a:gd name="T22" fmla="*/ 27 w 105"/>
                <a:gd name="T23" fmla="*/ 50 h 146"/>
                <a:gd name="T24" fmla="*/ 29 w 105"/>
                <a:gd name="T25" fmla="*/ 49 h 146"/>
                <a:gd name="T26" fmla="*/ 30 w 105"/>
                <a:gd name="T27" fmla="*/ 46 h 146"/>
                <a:gd name="T28" fmla="*/ 33 w 105"/>
                <a:gd name="T29" fmla="*/ 19 h 146"/>
                <a:gd name="T30" fmla="*/ 62 w 105"/>
                <a:gd name="T31" fmla="*/ 6 h 146"/>
                <a:gd name="T32" fmla="*/ 90 w 105"/>
                <a:gd name="T33" fmla="*/ 19 h 146"/>
                <a:gd name="T34" fmla="*/ 93 w 105"/>
                <a:gd name="T35" fmla="*/ 46 h 146"/>
                <a:gd name="T36" fmla="*/ 94 w 105"/>
                <a:gd name="T37" fmla="*/ 49 h 146"/>
                <a:gd name="T38" fmla="*/ 97 w 105"/>
                <a:gd name="T39" fmla="*/ 50 h 146"/>
                <a:gd name="T40" fmla="*/ 97 w 105"/>
                <a:gd name="T41" fmla="*/ 51 h 146"/>
                <a:gd name="T42" fmla="*/ 97 w 105"/>
                <a:gd name="T43" fmla="*/ 59 h 146"/>
                <a:gd name="T44" fmla="*/ 91 w 105"/>
                <a:gd name="T45" fmla="*/ 69 h 146"/>
                <a:gd name="T46" fmla="*/ 88 w 105"/>
                <a:gd name="T47" fmla="*/ 72 h 146"/>
                <a:gd name="T48" fmla="*/ 81 w 105"/>
                <a:gd name="T49" fmla="*/ 87 h 146"/>
                <a:gd name="T50" fmla="*/ 81 w 105"/>
                <a:gd name="T51" fmla="*/ 88 h 146"/>
                <a:gd name="T52" fmla="*/ 81 w 105"/>
                <a:gd name="T53" fmla="*/ 109 h 146"/>
                <a:gd name="T54" fmla="*/ 84 w 105"/>
                <a:gd name="T55" fmla="*/ 113 h 146"/>
                <a:gd name="T56" fmla="*/ 87 w 105"/>
                <a:gd name="T57" fmla="*/ 107 h 146"/>
                <a:gd name="T58" fmla="*/ 87 w 105"/>
                <a:gd name="T59" fmla="*/ 90 h 146"/>
                <a:gd name="T60" fmla="*/ 87 w 105"/>
                <a:gd name="T61" fmla="*/ 90 h 146"/>
                <a:gd name="T62" fmla="*/ 94 w 105"/>
                <a:gd name="T63" fmla="*/ 76 h 146"/>
                <a:gd name="T64" fmla="*/ 94 w 105"/>
                <a:gd name="T65" fmla="*/ 75 h 146"/>
                <a:gd name="T66" fmla="*/ 104 w 105"/>
                <a:gd name="T67" fmla="*/ 60 h 146"/>
                <a:gd name="T68" fmla="*/ 102 w 105"/>
                <a:gd name="T69" fmla="*/ 46 h 146"/>
                <a:gd name="T70" fmla="*/ 101 w 105"/>
                <a:gd name="T71" fmla="*/ 45 h 146"/>
                <a:gd name="T72" fmla="*/ 101 w 105"/>
                <a:gd name="T73" fmla="*/ 45 h 146"/>
                <a:gd name="T74" fmla="*/ 101 w 105"/>
                <a:gd name="T75" fmla="*/ 45 h 146"/>
                <a:gd name="T76" fmla="*/ 95 w 105"/>
                <a:gd name="T77" fmla="*/ 16 h 146"/>
                <a:gd name="T78" fmla="*/ 62 w 105"/>
                <a:gd name="T79" fmla="*/ 0 h 146"/>
                <a:gd name="T80" fmla="*/ 28 w 105"/>
                <a:gd name="T81" fmla="*/ 16 h 146"/>
                <a:gd name="T82" fmla="*/ 23 w 105"/>
                <a:gd name="T83" fmla="*/ 45 h 146"/>
                <a:gd name="T84" fmla="*/ 23 w 105"/>
                <a:gd name="T85" fmla="*/ 45 h 146"/>
                <a:gd name="T86" fmla="*/ 23 w 105"/>
                <a:gd name="T87" fmla="*/ 45 h 146"/>
                <a:gd name="T88" fmla="*/ 21 w 105"/>
                <a:gd name="T89" fmla="*/ 46 h 146"/>
                <a:gd name="T90" fmla="*/ 19 w 105"/>
                <a:gd name="T91" fmla="*/ 60 h 146"/>
                <a:gd name="T92" fmla="*/ 30 w 105"/>
                <a:gd name="T93" fmla="*/ 75 h 146"/>
                <a:gd name="T94" fmla="*/ 30 w 105"/>
                <a:gd name="T95" fmla="*/ 76 h 146"/>
                <a:gd name="T96" fmla="*/ 36 w 105"/>
                <a:gd name="T97" fmla="*/ 90 h 146"/>
                <a:gd name="T98" fmla="*/ 36 w 105"/>
                <a:gd name="T99" fmla="*/ 90 h 146"/>
                <a:gd name="T100" fmla="*/ 36 w 105"/>
                <a:gd name="T101" fmla="*/ 107 h 146"/>
                <a:gd name="T102" fmla="*/ 28 w 105"/>
                <a:gd name="T103" fmla="*/ 111 h 146"/>
                <a:gd name="T104" fmla="*/ 28 w 105"/>
                <a:gd name="T105" fmla="*/ 112 h 146"/>
                <a:gd name="T106" fmla="*/ 0 w 105"/>
                <a:gd name="T107" fmla="*/ 142 h 146"/>
                <a:gd name="T108" fmla="*/ 4 w 105"/>
                <a:gd name="T109" fmla="*/ 146 h 146"/>
                <a:gd name="T110" fmla="*/ 84 w 105"/>
                <a:gd name="T111" fmla="*/ 146 h 146"/>
                <a:gd name="T112" fmla="*/ 82 w 105"/>
                <a:gd name="T113" fmla="*/ 139 h 146"/>
                <a:gd name="T114" fmla="*/ 7 w 105"/>
                <a:gd name="T115" fmla="*/ 13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5" h="146">
                  <a:moveTo>
                    <a:pt x="7" y="139"/>
                  </a:moveTo>
                  <a:cubicBezTo>
                    <a:pt x="7" y="139"/>
                    <a:pt x="7" y="139"/>
                    <a:pt x="7" y="139"/>
                  </a:cubicBezTo>
                  <a:cubicBezTo>
                    <a:pt x="9" y="129"/>
                    <a:pt x="17" y="122"/>
                    <a:pt x="31" y="117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7" y="115"/>
                    <a:pt x="41" y="113"/>
                    <a:pt x="42" y="109"/>
                  </a:cubicBezTo>
                  <a:cubicBezTo>
                    <a:pt x="45" y="103"/>
                    <a:pt x="43" y="91"/>
                    <a:pt x="42" y="88"/>
                  </a:cubicBezTo>
                  <a:cubicBezTo>
                    <a:pt x="42" y="88"/>
                    <a:pt x="42" y="87"/>
                    <a:pt x="42" y="87"/>
                  </a:cubicBezTo>
                  <a:cubicBezTo>
                    <a:pt x="39" y="83"/>
                    <a:pt x="37" y="78"/>
                    <a:pt x="35" y="72"/>
                  </a:cubicBezTo>
                  <a:cubicBezTo>
                    <a:pt x="35" y="70"/>
                    <a:pt x="33" y="69"/>
                    <a:pt x="32" y="69"/>
                  </a:cubicBezTo>
                  <a:cubicBezTo>
                    <a:pt x="30" y="69"/>
                    <a:pt x="27" y="65"/>
                    <a:pt x="26" y="59"/>
                  </a:cubicBezTo>
                  <a:cubicBezTo>
                    <a:pt x="25" y="53"/>
                    <a:pt x="26" y="51"/>
                    <a:pt x="26" y="51"/>
                  </a:cubicBezTo>
                  <a:cubicBezTo>
                    <a:pt x="26" y="50"/>
                    <a:pt x="26" y="50"/>
                    <a:pt x="27" y="50"/>
                  </a:cubicBezTo>
                  <a:cubicBezTo>
                    <a:pt x="28" y="50"/>
                    <a:pt x="29" y="50"/>
                    <a:pt x="29" y="49"/>
                  </a:cubicBezTo>
                  <a:cubicBezTo>
                    <a:pt x="30" y="48"/>
                    <a:pt x="30" y="47"/>
                    <a:pt x="30" y="46"/>
                  </a:cubicBezTo>
                  <a:cubicBezTo>
                    <a:pt x="27" y="37"/>
                    <a:pt x="28" y="27"/>
                    <a:pt x="33" y="19"/>
                  </a:cubicBezTo>
                  <a:cubicBezTo>
                    <a:pt x="40" y="11"/>
                    <a:pt x="49" y="6"/>
                    <a:pt x="62" y="6"/>
                  </a:cubicBezTo>
                  <a:cubicBezTo>
                    <a:pt x="74" y="6"/>
                    <a:pt x="84" y="11"/>
                    <a:pt x="90" y="19"/>
                  </a:cubicBezTo>
                  <a:cubicBezTo>
                    <a:pt x="95" y="27"/>
                    <a:pt x="96" y="37"/>
                    <a:pt x="93" y="46"/>
                  </a:cubicBezTo>
                  <a:cubicBezTo>
                    <a:pt x="93" y="47"/>
                    <a:pt x="93" y="48"/>
                    <a:pt x="94" y="49"/>
                  </a:cubicBezTo>
                  <a:cubicBezTo>
                    <a:pt x="95" y="50"/>
                    <a:pt x="96" y="50"/>
                    <a:pt x="97" y="50"/>
                  </a:cubicBezTo>
                  <a:cubicBezTo>
                    <a:pt x="97" y="50"/>
                    <a:pt x="97" y="50"/>
                    <a:pt x="97" y="51"/>
                  </a:cubicBezTo>
                  <a:cubicBezTo>
                    <a:pt x="97" y="51"/>
                    <a:pt x="99" y="52"/>
                    <a:pt x="97" y="59"/>
                  </a:cubicBezTo>
                  <a:cubicBezTo>
                    <a:pt x="97" y="65"/>
                    <a:pt x="93" y="69"/>
                    <a:pt x="91" y="69"/>
                  </a:cubicBezTo>
                  <a:cubicBezTo>
                    <a:pt x="90" y="69"/>
                    <a:pt x="88" y="70"/>
                    <a:pt x="88" y="72"/>
                  </a:cubicBezTo>
                  <a:cubicBezTo>
                    <a:pt x="86" y="78"/>
                    <a:pt x="84" y="83"/>
                    <a:pt x="81" y="87"/>
                  </a:cubicBezTo>
                  <a:cubicBezTo>
                    <a:pt x="81" y="87"/>
                    <a:pt x="81" y="88"/>
                    <a:pt x="81" y="88"/>
                  </a:cubicBezTo>
                  <a:cubicBezTo>
                    <a:pt x="80" y="91"/>
                    <a:pt x="78" y="103"/>
                    <a:pt x="81" y="109"/>
                  </a:cubicBezTo>
                  <a:cubicBezTo>
                    <a:pt x="82" y="111"/>
                    <a:pt x="83" y="112"/>
                    <a:pt x="84" y="113"/>
                  </a:cubicBezTo>
                  <a:cubicBezTo>
                    <a:pt x="87" y="107"/>
                    <a:pt x="87" y="107"/>
                    <a:pt x="87" y="107"/>
                  </a:cubicBezTo>
                  <a:cubicBezTo>
                    <a:pt x="86" y="103"/>
                    <a:pt x="86" y="94"/>
                    <a:pt x="87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0" y="86"/>
                    <a:pt x="92" y="81"/>
                    <a:pt x="94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9" y="74"/>
                    <a:pt x="103" y="66"/>
                    <a:pt x="104" y="60"/>
                  </a:cubicBezTo>
                  <a:cubicBezTo>
                    <a:pt x="105" y="53"/>
                    <a:pt x="104" y="49"/>
                    <a:pt x="102" y="46"/>
                  </a:cubicBezTo>
                  <a:cubicBezTo>
                    <a:pt x="102" y="46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3" y="35"/>
                    <a:pt x="101" y="24"/>
                    <a:pt x="95" y="16"/>
                  </a:cubicBezTo>
                  <a:cubicBezTo>
                    <a:pt x="88" y="5"/>
                    <a:pt x="76" y="0"/>
                    <a:pt x="62" y="0"/>
                  </a:cubicBezTo>
                  <a:cubicBezTo>
                    <a:pt x="47" y="0"/>
                    <a:pt x="35" y="5"/>
                    <a:pt x="28" y="16"/>
                  </a:cubicBezTo>
                  <a:cubicBezTo>
                    <a:pt x="22" y="24"/>
                    <a:pt x="20" y="3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2" y="45"/>
                    <a:pt x="21" y="46"/>
                    <a:pt x="21" y="46"/>
                  </a:cubicBezTo>
                  <a:cubicBezTo>
                    <a:pt x="19" y="49"/>
                    <a:pt x="18" y="53"/>
                    <a:pt x="19" y="60"/>
                  </a:cubicBezTo>
                  <a:cubicBezTo>
                    <a:pt x="20" y="66"/>
                    <a:pt x="24" y="74"/>
                    <a:pt x="30" y="75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1" y="81"/>
                    <a:pt x="34" y="86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1"/>
                    <a:pt x="38" y="102"/>
                    <a:pt x="36" y="107"/>
                  </a:cubicBezTo>
                  <a:cubicBezTo>
                    <a:pt x="35" y="109"/>
                    <a:pt x="32" y="110"/>
                    <a:pt x="28" y="111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18" y="115"/>
                    <a:pt x="0" y="123"/>
                    <a:pt x="0" y="142"/>
                  </a:cubicBezTo>
                  <a:cubicBezTo>
                    <a:pt x="0" y="142"/>
                    <a:pt x="0" y="146"/>
                    <a:pt x="4" y="146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2" y="139"/>
                    <a:pt x="82" y="139"/>
                    <a:pt x="82" y="139"/>
                  </a:cubicBezTo>
                  <a:lnTo>
                    <a:pt x="7" y="1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FF9B358F-DCC8-44F2-BDCD-1E04F706B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650" y="5825993"/>
              <a:ext cx="243267" cy="243267"/>
            </a:xfrm>
            <a:custGeom>
              <a:avLst/>
              <a:gdLst>
                <a:gd name="T0" fmla="*/ 74 w 77"/>
                <a:gd name="T1" fmla="*/ 24 h 77"/>
                <a:gd name="T2" fmla="*/ 73 w 77"/>
                <a:gd name="T3" fmla="*/ 23 h 77"/>
                <a:gd name="T4" fmla="*/ 71 w 77"/>
                <a:gd name="T5" fmla="*/ 23 h 77"/>
                <a:gd name="T6" fmla="*/ 69 w 77"/>
                <a:gd name="T7" fmla="*/ 27 h 77"/>
                <a:gd name="T8" fmla="*/ 71 w 77"/>
                <a:gd name="T9" fmla="*/ 38 h 77"/>
                <a:gd name="T10" fmla="*/ 39 w 77"/>
                <a:gd name="T11" fmla="*/ 71 h 77"/>
                <a:gd name="T12" fmla="*/ 6 w 77"/>
                <a:gd name="T13" fmla="*/ 38 h 77"/>
                <a:gd name="T14" fmla="*/ 39 w 77"/>
                <a:gd name="T15" fmla="*/ 6 h 77"/>
                <a:gd name="T16" fmla="*/ 62 w 77"/>
                <a:gd name="T17" fmla="*/ 16 h 77"/>
                <a:gd name="T18" fmla="*/ 64 w 77"/>
                <a:gd name="T19" fmla="*/ 17 h 77"/>
                <a:gd name="T20" fmla="*/ 64 w 77"/>
                <a:gd name="T21" fmla="*/ 17 h 77"/>
                <a:gd name="T22" fmla="*/ 66 w 77"/>
                <a:gd name="T23" fmla="*/ 16 h 77"/>
                <a:gd name="T24" fmla="*/ 67 w 77"/>
                <a:gd name="T25" fmla="*/ 14 h 77"/>
                <a:gd name="T26" fmla="*/ 66 w 77"/>
                <a:gd name="T27" fmla="*/ 12 h 77"/>
                <a:gd name="T28" fmla="*/ 39 w 77"/>
                <a:gd name="T29" fmla="*/ 0 h 77"/>
                <a:gd name="T30" fmla="*/ 0 w 77"/>
                <a:gd name="T31" fmla="*/ 38 h 77"/>
                <a:gd name="T32" fmla="*/ 39 w 77"/>
                <a:gd name="T33" fmla="*/ 77 h 77"/>
                <a:gd name="T34" fmla="*/ 77 w 77"/>
                <a:gd name="T35" fmla="*/ 38 h 77"/>
                <a:gd name="T36" fmla="*/ 74 w 77"/>
                <a:gd name="T37" fmla="*/ 2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77">
                  <a:moveTo>
                    <a:pt x="74" y="24"/>
                  </a:moveTo>
                  <a:cubicBezTo>
                    <a:pt x="74" y="24"/>
                    <a:pt x="73" y="23"/>
                    <a:pt x="73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69" y="23"/>
                    <a:pt x="68" y="25"/>
                    <a:pt x="69" y="27"/>
                  </a:cubicBezTo>
                  <a:cubicBezTo>
                    <a:pt x="70" y="30"/>
                    <a:pt x="71" y="34"/>
                    <a:pt x="71" y="38"/>
                  </a:cubicBezTo>
                  <a:cubicBezTo>
                    <a:pt x="71" y="56"/>
                    <a:pt x="57" y="71"/>
                    <a:pt x="39" y="71"/>
                  </a:cubicBezTo>
                  <a:cubicBezTo>
                    <a:pt x="21" y="71"/>
                    <a:pt x="6" y="56"/>
                    <a:pt x="6" y="38"/>
                  </a:cubicBezTo>
                  <a:cubicBezTo>
                    <a:pt x="6" y="21"/>
                    <a:pt x="21" y="6"/>
                    <a:pt x="39" y="6"/>
                  </a:cubicBezTo>
                  <a:cubicBezTo>
                    <a:pt x="48" y="6"/>
                    <a:pt x="56" y="10"/>
                    <a:pt x="62" y="16"/>
                  </a:cubicBezTo>
                  <a:cubicBezTo>
                    <a:pt x="63" y="17"/>
                    <a:pt x="64" y="17"/>
                    <a:pt x="64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5" y="17"/>
                    <a:pt x="66" y="17"/>
                    <a:pt x="66" y="16"/>
                  </a:cubicBezTo>
                  <a:cubicBezTo>
                    <a:pt x="67" y="16"/>
                    <a:pt x="67" y="15"/>
                    <a:pt x="67" y="14"/>
                  </a:cubicBezTo>
                  <a:cubicBezTo>
                    <a:pt x="67" y="13"/>
                    <a:pt x="67" y="13"/>
                    <a:pt x="66" y="12"/>
                  </a:cubicBezTo>
                  <a:cubicBezTo>
                    <a:pt x="59" y="4"/>
                    <a:pt x="49" y="0"/>
                    <a:pt x="39" y="0"/>
                  </a:cubicBezTo>
                  <a:cubicBezTo>
                    <a:pt x="18" y="0"/>
                    <a:pt x="0" y="17"/>
                    <a:pt x="0" y="38"/>
                  </a:cubicBezTo>
                  <a:cubicBezTo>
                    <a:pt x="0" y="60"/>
                    <a:pt x="18" y="77"/>
                    <a:pt x="39" y="77"/>
                  </a:cubicBezTo>
                  <a:cubicBezTo>
                    <a:pt x="60" y="77"/>
                    <a:pt x="77" y="60"/>
                    <a:pt x="77" y="38"/>
                  </a:cubicBezTo>
                  <a:cubicBezTo>
                    <a:pt x="77" y="34"/>
                    <a:pt x="76" y="29"/>
                    <a:pt x="74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71B442AB-ECF3-73B1-55AA-1D425CA2F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798" y="5863418"/>
              <a:ext cx="180445" cy="129654"/>
            </a:xfrm>
            <a:custGeom>
              <a:avLst/>
              <a:gdLst>
                <a:gd name="T0" fmla="*/ 5 w 57"/>
                <a:gd name="T1" fmla="*/ 19 h 41"/>
                <a:gd name="T2" fmla="*/ 1 w 57"/>
                <a:gd name="T3" fmla="*/ 19 h 41"/>
                <a:gd name="T4" fmla="*/ 0 w 57"/>
                <a:gd name="T5" fmla="*/ 21 h 41"/>
                <a:gd name="T6" fmla="*/ 1 w 57"/>
                <a:gd name="T7" fmla="*/ 24 h 41"/>
                <a:gd name="T8" fmla="*/ 18 w 57"/>
                <a:gd name="T9" fmla="*/ 40 h 41"/>
                <a:gd name="T10" fmla="*/ 20 w 57"/>
                <a:gd name="T11" fmla="*/ 41 h 41"/>
                <a:gd name="T12" fmla="*/ 22 w 57"/>
                <a:gd name="T13" fmla="*/ 40 h 41"/>
                <a:gd name="T14" fmla="*/ 56 w 57"/>
                <a:gd name="T15" fmla="*/ 5 h 41"/>
                <a:gd name="T16" fmla="*/ 56 w 57"/>
                <a:gd name="T17" fmla="*/ 1 h 41"/>
                <a:gd name="T18" fmla="*/ 54 w 57"/>
                <a:gd name="T19" fmla="*/ 0 h 41"/>
                <a:gd name="T20" fmla="*/ 52 w 57"/>
                <a:gd name="T21" fmla="*/ 1 h 41"/>
                <a:gd name="T22" fmla="*/ 20 w 57"/>
                <a:gd name="T23" fmla="*/ 34 h 41"/>
                <a:gd name="T24" fmla="*/ 5 w 57"/>
                <a:gd name="T25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1">
                  <a:moveTo>
                    <a:pt x="5" y="19"/>
                  </a:moveTo>
                  <a:cubicBezTo>
                    <a:pt x="4" y="18"/>
                    <a:pt x="2" y="18"/>
                    <a:pt x="1" y="19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2"/>
                    <a:pt x="0" y="23"/>
                    <a:pt x="1" y="24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1"/>
                    <a:pt x="19" y="41"/>
                    <a:pt x="20" y="41"/>
                  </a:cubicBezTo>
                  <a:cubicBezTo>
                    <a:pt x="21" y="41"/>
                    <a:pt x="21" y="41"/>
                    <a:pt x="22" y="4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4"/>
                    <a:pt x="57" y="2"/>
                    <a:pt x="56" y="1"/>
                  </a:cubicBezTo>
                  <a:cubicBezTo>
                    <a:pt x="55" y="0"/>
                    <a:pt x="54" y="0"/>
                    <a:pt x="54" y="0"/>
                  </a:cubicBezTo>
                  <a:cubicBezTo>
                    <a:pt x="53" y="0"/>
                    <a:pt x="52" y="0"/>
                    <a:pt x="52" y="1"/>
                  </a:cubicBezTo>
                  <a:cubicBezTo>
                    <a:pt x="20" y="34"/>
                    <a:pt x="20" y="34"/>
                    <a:pt x="20" y="34"/>
                  </a:cubicBezTo>
                  <a:lnTo>
                    <a:pt x="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E0B158F-12EA-B07E-CD30-FF2AFE696B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22721" y="1893261"/>
            <a:ext cx="1195063" cy="1381125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F808D20B-F99C-A909-3C36-946669F29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190162" y="1969348"/>
            <a:ext cx="168993" cy="167975"/>
            <a:chOff x="8374063" y="4395788"/>
            <a:chExt cx="546100" cy="530226"/>
          </a:xfrm>
          <a:solidFill>
            <a:schemeClr val="accent6"/>
          </a:solidFill>
        </p:grpSpPr>
        <p:sp>
          <p:nvSpPr>
            <p:cNvPr id="156" name="Freeform 17">
              <a:extLst>
                <a:ext uri="{FF2B5EF4-FFF2-40B4-BE49-F238E27FC236}">
                  <a16:creationId xmlns:a16="http://schemas.microsoft.com/office/drawing/2014/main" id="{363B8898-7C12-238C-1400-C48CB4079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4395788"/>
              <a:ext cx="333375" cy="466725"/>
            </a:xfrm>
            <a:custGeom>
              <a:avLst/>
              <a:gdLst>
                <a:gd name="T0" fmla="*/ 7 w 106"/>
                <a:gd name="T1" fmla="*/ 141 h 148"/>
                <a:gd name="T2" fmla="*/ 7 w 106"/>
                <a:gd name="T3" fmla="*/ 141 h 148"/>
                <a:gd name="T4" fmla="*/ 31 w 106"/>
                <a:gd name="T5" fmla="*/ 119 h 148"/>
                <a:gd name="T6" fmla="*/ 31 w 106"/>
                <a:gd name="T7" fmla="*/ 119 h 148"/>
                <a:gd name="T8" fmla="*/ 43 w 106"/>
                <a:gd name="T9" fmla="*/ 111 h 148"/>
                <a:gd name="T10" fmla="*/ 43 w 106"/>
                <a:gd name="T11" fmla="*/ 89 h 148"/>
                <a:gd name="T12" fmla="*/ 42 w 106"/>
                <a:gd name="T13" fmla="*/ 88 h 148"/>
                <a:gd name="T14" fmla="*/ 36 w 106"/>
                <a:gd name="T15" fmla="*/ 73 h 148"/>
                <a:gd name="T16" fmla="*/ 32 w 106"/>
                <a:gd name="T17" fmla="*/ 70 h 148"/>
                <a:gd name="T18" fmla="*/ 26 w 106"/>
                <a:gd name="T19" fmla="*/ 60 h 148"/>
                <a:gd name="T20" fmla="*/ 26 w 106"/>
                <a:gd name="T21" fmla="*/ 51 h 148"/>
                <a:gd name="T22" fmla="*/ 27 w 106"/>
                <a:gd name="T23" fmla="*/ 51 h 148"/>
                <a:gd name="T24" fmla="*/ 30 w 106"/>
                <a:gd name="T25" fmla="*/ 50 h 148"/>
                <a:gd name="T26" fmla="*/ 30 w 106"/>
                <a:gd name="T27" fmla="*/ 47 h 148"/>
                <a:gd name="T28" fmla="*/ 34 w 106"/>
                <a:gd name="T29" fmla="*/ 20 h 148"/>
                <a:gd name="T30" fmla="*/ 62 w 106"/>
                <a:gd name="T31" fmla="*/ 6 h 148"/>
                <a:gd name="T32" fmla="*/ 91 w 106"/>
                <a:gd name="T33" fmla="*/ 20 h 148"/>
                <a:gd name="T34" fmla="*/ 95 w 106"/>
                <a:gd name="T35" fmla="*/ 47 h 148"/>
                <a:gd name="T36" fmla="*/ 95 w 106"/>
                <a:gd name="T37" fmla="*/ 50 h 148"/>
                <a:gd name="T38" fmla="*/ 98 w 106"/>
                <a:gd name="T39" fmla="*/ 51 h 148"/>
                <a:gd name="T40" fmla="*/ 99 w 106"/>
                <a:gd name="T41" fmla="*/ 51 h 148"/>
                <a:gd name="T42" fmla="*/ 99 w 106"/>
                <a:gd name="T43" fmla="*/ 60 h 148"/>
                <a:gd name="T44" fmla="*/ 92 w 106"/>
                <a:gd name="T45" fmla="*/ 70 h 148"/>
                <a:gd name="T46" fmla="*/ 89 w 106"/>
                <a:gd name="T47" fmla="*/ 73 h 148"/>
                <a:gd name="T48" fmla="*/ 82 w 106"/>
                <a:gd name="T49" fmla="*/ 88 h 148"/>
                <a:gd name="T50" fmla="*/ 82 w 106"/>
                <a:gd name="T51" fmla="*/ 89 h 148"/>
                <a:gd name="T52" fmla="*/ 82 w 106"/>
                <a:gd name="T53" fmla="*/ 111 h 148"/>
                <a:gd name="T54" fmla="*/ 83 w 106"/>
                <a:gd name="T55" fmla="*/ 113 h 148"/>
                <a:gd name="T56" fmla="*/ 88 w 106"/>
                <a:gd name="T57" fmla="*/ 107 h 148"/>
                <a:gd name="T58" fmla="*/ 88 w 106"/>
                <a:gd name="T59" fmla="*/ 91 h 148"/>
                <a:gd name="T60" fmla="*/ 88 w 106"/>
                <a:gd name="T61" fmla="*/ 91 h 148"/>
                <a:gd name="T62" fmla="*/ 95 w 106"/>
                <a:gd name="T63" fmla="*/ 77 h 148"/>
                <a:gd name="T64" fmla="*/ 95 w 106"/>
                <a:gd name="T65" fmla="*/ 77 h 148"/>
                <a:gd name="T66" fmla="*/ 105 w 106"/>
                <a:gd name="T67" fmla="*/ 61 h 148"/>
                <a:gd name="T68" fmla="*/ 104 w 106"/>
                <a:gd name="T69" fmla="*/ 47 h 148"/>
                <a:gd name="T70" fmla="*/ 102 w 106"/>
                <a:gd name="T71" fmla="*/ 46 h 148"/>
                <a:gd name="T72" fmla="*/ 102 w 106"/>
                <a:gd name="T73" fmla="*/ 46 h 148"/>
                <a:gd name="T74" fmla="*/ 102 w 106"/>
                <a:gd name="T75" fmla="*/ 45 h 148"/>
                <a:gd name="T76" fmla="*/ 96 w 106"/>
                <a:gd name="T77" fmla="*/ 16 h 148"/>
                <a:gd name="T78" fmla="*/ 62 w 106"/>
                <a:gd name="T79" fmla="*/ 0 h 148"/>
                <a:gd name="T80" fmla="*/ 29 w 106"/>
                <a:gd name="T81" fmla="*/ 16 h 148"/>
                <a:gd name="T82" fmla="*/ 23 w 106"/>
                <a:gd name="T83" fmla="*/ 45 h 148"/>
                <a:gd name="T84" fmla="*/ 23 w 106"/>
                <a:gd name="T85" fmla="*/ 46 h 148"/>
                <a:gd name="T86" fmla="*/ 23 w 106"/>
                <a:gd name="T87" fmla="*/ 46 h 148"/>
                <a:gd name="T88" fmla="*/ 21 w 106"/>
                <a:gd name="T89" fmla="*/ 47 h 148"/>
                <a:gd name="T90" fmla="*/ 19 w 106"/>
                <a:gd name="T91" fmla="*/ 61 h 148"/>
                <a:gd name="T92" fmla="*/ 30 w 106"/>
                <a:gd name="T93" fmla="*/ 77 h 148"/>
                <a:gd name="T94" fmla="*/ 30 w 106"/>
                <a:gd name="T95" fmla="*/ 77 h 148"/>
                <a:gd name="T96" fmla="*/ 36 w 106"/>
                <a:gd name="T97" fmla="*/ 91 h 148"/>
                <a:gd name="T98" fmla="*/ 36 w 106"/>
                <a:gd name="T99" fmla="*/ 91 h 148"/>
                <a:gd name="T100" fmla="*/ 37 w 106"/>
                <a:gd name="T101" fmla="*/ 108 h 148"/>
                <a:gd name="T102" fmla="*/ 29 w 106"/>
                <a:gd name="T103" fmla="*/ 113 h 148"/>
                <a:gd name="T104" fmla="*/ 28 w 106"/>
                <a:gd name="T105" fmla="*/ 113 h 148"/>
                <a:gd name="T106" fmla="*/ 0 w 106"/>
                <a:gd name="T107" fmla="*/ 144 h 148"/>
                <a:gd name="T108" fmla="*/ 4 w 106"/>
                <a:gd name="T109" fmla="*/ 148 h 148"/>
                <a:gd name="T110" fmla="*/ 90 w 106"/>
                <a:gd name="T111" fmla="*/ 148 h 148"/>
                <a:gd name="T112" fmla="*/ 85 w 106"/>
                <a:gd name="T113" fmla="*/ 141 h 148"/>
                <a:gd name="T114" fmla="*/ 7 w 106"/>
                <a:gd name="T115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" h="148">
                  <a:moveTo>
                    <a:pt x="7" y="141"/>
                  </a:moveTo>
                  <a:cubicBezTo>
                    <a:pt x="7" y="141"/>
                    <a:pt x="7" y="141"/>
                    <a:pt x="7" y="141"/>
                  </a:cubicBezTo>
                  <a:cubicBezTo>
                    <a:pt x="9" y="131"/>
                    <a:pt x="17" y="123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7" y="117"/>
                    <a:pt x="41" y="115"/>
                    <a:pt x="43" y="111"/>
                  </a:cubicBezTo>
                  <a:cubicBezTo>
                    <a:pt x="45" y="104"/>
                    <a:pt x="43" y="92"/>
                    <a:pt x="43" y="89"/>
                  </a:cubicBezTo>
                  <a:cubicBezTo>
                    <a:pt x="43" y="89"/>
                    <a:pt x="43" y="89"/>
                    <a:pt x="42" y="88"/>
                  </a:cubicBezTo>
                  <a:cubicBezTo>
                    <a:pt x="40" y="84"/>
                    <a:pt x="37" y="79"/>
                    <a:pt x="36" y="73"/>
                  </a:cubicBezTo>
                  <a:cubicBezTo>
                    <a:pt x="35" y="71"/>
                    <a:pt x="34" y="70"/>
                    <a:pt x="32" y="70"/>
                  </a:cubicBezTo>
                  <a:cubicBezTo>
                    <a:pt x="30" y="70"/>
                    <a:pt x="27" y="66"/>
                    <a:pt x="26" y="60"/>
                  </a:cubicBezTo>
                  <a:cubicBezTo>
                    <a:pt x="25" y="53"/>
                    <a:pt x="26" y="52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28" y="51"/>
                    <a:pt x="29" y="51"/>
                    <a:pt x="30" y="50"/>
                  </a:cubicBezTo>
                  <a:cubicBezTo>
                    <a:pt x="30" y="49"/>
                    <a:pt x="30" y="48"/>
                    <a:pt x="30" y="47"/>
                  </a:cubicBezTo>
                  <a:cubicBezTo>
                    <a:pt x="27" y="37"/>
                    <a:pt x="28" y="27"/>
                    <a:pt x="34" y="20"/>
                  </a:cubicBezTo>
                  <a:cubicBezTo>
                    <a:pt x="40" y="11"/>
                    <a:pt x="50" y="6"/>
                    <a:pt x="62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6" y="27"/>
                    <a:pt x="98" y="37"/>
                    <a:pt x="95" y="47"/>
                  </a:cubicBezTo>
                  <a:cubicBezTo>
                    <a:pt x="94" y="48"/>
                    <a:pt x="95" y="49"/>
                    <a:pt x="95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8" y="51"/>
                    <a:pt x="98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4" y="70"/>
                    <a:pt x="92" y="70"/>
                  </a:cubicBezTo>
                  <a:cubicBezTo>
                    <a:pt x="91" y="70"/>
                    <a:pt x="90" y="71"/>
                    <a:pt x="89" y="73"/>
                  </a:cubicBezTo>
                  <a:cubicBezTo>
                    <a:pt x="87" y="79"/>
                    <a:pt x="85" y="84"/>
                    <a:pt x="82" y="88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1" y="92"/>
                    <a:pt x="79" y="104"/>
                    <a:pt x="82" y="111"/>
                  </a:cubicBezTo>
                  <a:cubicBezTo>
                    <a:pt x="82" y="112"/>
                    <a:pt x="83" y="113"/>
                    <a:pt x="83" y="113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3"/>
                    <a:pt x="88" y="95"/>
                    <a:pt x="88" y="91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91" y="87"/>
                    <a:pt x="93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4" y="67"/>
                    <a:pt x="105" y="61"/>
                  </a:cubicBezTo>
                  <a:cubicBezTo>
                    <a:pt x="106" y="54"/>
                    <a:pt x="106" y="50"/>
                    <a:pt x="104" y="47"/>
                  </a:cubicBezTo>
                  <a:cubicBezTo>
                    <a:pt x="103" y="46"/>
                    <a:pt x="103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4" y="35"/>
                    <a:pt x="102" y="24"/>
                    <a:pt x="96" y="16"/>
                  </a:cubicBezTo>
                  <a:cubicBezTo>
                    <a:pt x="89" y="5"/>
                    <a:pt x="77" y="0"/>
                    <a:pt x="62" y="0"/>
                  </a:cubicBezTo>
                  <a:cubicBezTo>
                    <a:pt x="48" y="0"/>
                    <a:pt x="36" y="5"/>
                    <a:pt x="29" y="16"/>
                  </a:cubicBezTo>
                  <a:cubicBezTo>
                    <a:pt x="23" y="24"/>
                    <a:pt x="20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2" y="46"/>
                    <a:pt x="22" y="46"/>
                    <a:pt x="21" y="47"/>
                  </a:cubicBezTo>
                  <a:cubicBezTo>
                    <a:pt x="19" y="50"/>
                    <a:pt x="18" y="54"/>
                    <a:pt x="19" y="61"/>
                  </a:cubicBezTo>
                  <a:cubicBezTo>
                    <a:pt x="20" y="67"/>
                    <a:pt x="24" y="75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2" y="82"/>
                    <a:pt x="34" y="87"/>
                    <a:pt x="36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7" y="92"/>
                    <a:pt x="38" y="104"/>
                    <a:pt x="37" y="108"/>
                  </a:cubicBezTo>
                  <a:cubicBezTo>
                    <a:pt x="36" y="110"/>
                    <a:pt x="32" y="111"/>
                    <a:pt x="29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8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7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7" name="Freeform 18">
              <a:extLst>
                <a:ext uri="{FF2B5EF4-FFF2-40B4-BE49-F238E27FC236}">
                  <a16:creationId xmlns:a16="http://schemas.microsoft.com/office/drawing/2014/main" id="{558E915A-0360-87A9-E317-C1C616A02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59326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8" name="Freeform 19">
              <a:extLst>
                <a:ext uri="{FF2B5EF4-FFF2-40B4-BE49-F238E27FC236}">
                  <a16:creationId xmlns:a16="http://schemas.microsoft.com/office/drawing/2014/main" id="{6C31E542-487E-243C-F7A0-F9DE46DED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89488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4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9" name="Freeform 20">
              <a:extLst>
                <a:ext uri="{FF2B5EF4-FFF2-40B4-BE49-F238E27FC236}">
                  <a16:creationId xmlns:a16="http://schemas.microsoft.com/office/drawing/2014/main" id="{EB74D68B-BD32-0100-C823-C51370344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824413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0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60" name="Freeform 21">
              <a:extLst>
                <a:ext uri="{FF2B5EF4-FFF2-40B4-BE49-F238E27FC236}">
                  <a16:creationId xmlns:a16="http://schemas.microsoft.com/office/drawing/2014/main" id="{BC4CE802-83D9-8E4A-58EC-264E9EF7D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525" y="4679951"/>
              <a:ext cx="274638" cy="246063"/>
            </a:xfrm>
            <a:custGeom>
              <a:avLst/>
              <a:gdLst>
                <a:gd name="T0" fmla="*/ 44 w 87"/>
                <a:gd name="T1" fmla="*/ 0 h 78"/>
                <a:gd name="T2" fmla="*/ 0 w 87"/>
                <a:gd name="T3" fmla="*/ 35 h 78"/>
                <a:gd name="T4" fmla="*/ 12 w 87"/>
                <a:gd name="T5" fmla="*/ 60 h 78"/>
                <a:gd name="T6" fmla="*/ 7 w 87"/>
                <a:gd name="T7" fmla="*/ 78 h 78"/>
                <a:gd name="T8" fmla="*/ 32 w 87"/>
                <a:gd name="T9" fmla="*/ 69 h 78"/>
                <a:gd name="T10" fmla="*/ 32 w 87"/>
                <a:gd name="T11" fmla="*/ 69 h 78"/>
                <a:gd name="T12" fmla="*/ 44 w 87"/>
                <a:gd name="T13" fmla="*/ 71 h 78"/>
                <a:gd name="T14" fmla="*/ 87 w 87"/>
                <a:gd name="T15" fmla="*/ 35 h 78"/>
                <a:gd name="T16" fmla="*/ 44 w 87"/>
                <a:gd name="T17" fmla="*/ 0 h 78"/>
                <a:gd name="T18" fmla="*/ 44 w 87"/>
                <a:gd name="T19" fmla="*/ 65 h 78"/>
                <a:gd name="T20" fmla="*/ 32 w 87"/>
                <a:gd name="T21" fmla="*/ 64 h 78"/>
                <a:gd name="T22" fmla="*/ 30 w 87"/>
                <a:gd name="T23" fmla="*/ 65 h 78"/>
                <a:gd name="T24" fmla="*/ 15 w 87"/>
                <a:gd name="T25" fmla="*/ 70 h 78"/>
                <a:gd name="T26" fmla="*/ 17 w 87"/>
                <a:gd name="T27" fmla="*/ 61 h 78"/>
                <a:gd name="T28" fmla="*/ 15 w 87"/>
                <a:gd name="T29" fmla="*/ 56 h 78"/>
                <a:gd name="T30" fmla="*/ 5 w 87"/>
                <a:gd name="T31" fmla="*/ 35 h 78"/>
                <a:gd name="T32" fmla="*/ 44 w 87"/>
                <a:gd name="T33" fmla="*/ 5 h 78"/>
                <a:gd name="T34" fmla="*/ 82 w 87"/>
                <a:gd name="T35" fmla="*/ 35 h 78"/>
                <a:gd name="T36" fmla="*/ 44 w 87"/>
                <a:gd name="T37" fmla="*/ 6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78">
                  <a:moveTo>
                    <a:pt x="44" y="0"/>
                  </a:moveTo>
                  <a:cubicBezTo>
                    <a:pt x="20" y="0"/>
                    <a:pt x="0" y="16"/>
                    <a:pt x="0" y="35"/>
                  </a:cubicBezTo>
                  <a:cubicBezTo>
                    <a:pt x="0" y="45"/>
                    <a:pt x="4" y="53"/>
                    <a:pt x="12" y="60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5" y="70"/>
                    <a:pt x="39" y="71"/>
                    <a:pt x="44" y="71"/>
                  </a:cubicBezTo>
                  <a:cubicBezTo>
                    <a:pt x="68" y="71"/>
                    <a:pt x="87" y="55"/>
                    <a:pt x="87" y="35"/>
                  </a:cubicBezTo>
                  <a:cubicBezTo>
                    <a:pt x="87" y="16"/>
                    <a:pt x="68" y="0"/>
                    <a:pt x="44" y="0"/>
                  </a:cubicBezTo>
                  <a:close/>
                  <a:moveTo>
                    <a:pt x="44" y="65"/>
                  </a:moveTo>
                  <a:cubicBezTo>
                    <a:pt x="40" y="65"/>
                    <a:pt x="36" y="65"/>
                    <a:pt x="32" y="64"/>
                  </a:cubicBezTo>
                  <a:cubicBezTo>
                    <a:pt x="32" y="64"/>
                    <a:pt x="31" y="64"/>
                    <a:pt x="30" y="65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59"/>
                    <a:pt x="17" y="57"/>
                    <a:pt x="15" y="56"/>
                  </a:cubicBezTo>
                  <a:cubicBezTo>
                    <a:pt x="9" y="50"/>
                    <a:pt x="5" y="43"/>
                    <a:pt x="5" y="35"/>
                  </a:cubicBezTo>
                  <a:cubicBezTo>
                    <a:pt x="5" y="18"/>
                    <a:pt x="22" y="5"/>
                    <a:pt x="44" y="5"/>
                  </a:cubicBezTo>
                  <a:cubicBezTo>
                    <a:pt x="65" y="5"/>
                    <a:pt x="82" y="18"/>
                    <a:pt x="82" y="35"/>
                  </a:cubicBezTo>
                  <a:cubicBezTo>
                    <a:pt x="82" y="52"/>
                    <a:pt x="65" y="65"/>
                    <a:pt x="4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7C3185A-7517-72D3-027B-064ED1D88B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193847" y="2232488"/>
            <a:ext cx="161795" cy="172088"/>
            <a:chOff x="4068314" y="5534607"/>
            <a:chExt cx="514603" cy="534653"/>
          </a:xfrm>
          <a:solidFill>
            <a:schemeClr val="accent6"/>
          </a:solidFill>
        </p:grpSpPr>
        <p:sp>
          <p:nvSpPr>
            <p:cNvPr id="153" name="Freeform 37">
              <a:extLst>
                <a:ext uri="{FF2B5EF4-FFF2-40B4-BE49-F238E27FC236}">
                  <a16:creationId xmlns:a16="http://schemas.microsoft.com/office/drawing/2014/main" id="{88E7630C-F2D8-6000-E73C-FDF201AA0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314" y="5534607"/>
              <a:ext cx="331485" cy="461138"/>
            </a:xfrm>
            <a:custGeom>
              <a:avLst/>
              <a:gdLst>
                <a:gd name="T0" fmla="*/ 7 w 105"/>
                <a:gd name="T1" fmla="*/ 139 h 146"/>
                <a:gd name="T2" fmla="*/ 7 w 105"/>
                <a:gd name="T3" fmla="*/ 139 h 146"/>
                <a:gd name="T4" fmla="*/ 31 w 105"/>
                <a:gd name="T5" fmla="*/ 117 h 146"/>
                <a:gd name="T6" fmla="*/ 31 w 105"/>
                <a:gd name="T7" fmla="*/ 117 h 146"/>
                <a:gd name="T8" fmla="*/ 42 w 105"/>
                <a:gd name="T9" fmla="*/ 109 h 146"/>
                <a:gd name="T10" fmla="*/ 42 w 105"/>
                <a:gd name="T11" fmla="*/ 88 h 146"/>
                <a:gd name="T12" fmla="*/ 42 w 105"/>
                <a:gd name="T13" fmla="*/ 87 h 146"/>
                <a:gd name="T14" fmla="*/ 35 w 105"/>
                <a:gd name="T15" fmla="*/ 72 h 146"/>
                <a:gd name="T16" fmla="*/ 32 w 105"/>
                <a:gd name="T17" fmla="*/ 69 h 146"/>
                <a:gd name="T18" fmla="*/ 26 w 105"/>
                <a:gd name="T19" fmla="*/ 59 h 146"/>
                <a:gd name="T20" fmla="*/ 26 w 105"/>
                <a:gd name="T21" fmla="*/ 51 h 146"/>
                <a:gd name="T22" fmla="*/ 27 w 105"/>
                <a:gd name="T23" fmla="*/ 50 h 146"/>
                <a:gd name="T24" fmla="*/ 29 w 105"/>
                <a:gd name="T25" fmla="*/ 49 h 146"/>
                <a:gd name="T26" fmla="*/ 30 w 105"/>
                <a:gd name="T27" fmla="*/ 46 h 146"/>
                <a:gd name="T28" fmla="*/ 33 w 105"/>
                <a:gd name="T29" fmla="*/ 19 h 146"/>
                <a:gd name="T30" fmla="*/ 62 w 105"/>
                <a:gd name="T31" fmla="*/ 6 h 146"/>
                <a:gd name="T32" fmla="*/ 90 w 105"/>
                <a:gd name="T33" fmla="*/ 19 h 146"/>
                <a:gd name="T34" fmla="*/ 93 w 105"/>
                <a:gd name="T35" fmla="*/ 46 h 146"/>
                <a:gd name="T36" fmla="*/ 94 w 105"/>
                <a:gd name="T37" fmla="*/ 49 h 146"/>
                <a:gd name="T38" fmla="*/ 97 w 105"/>
                <a:gd name="T39" fmla="*/ 50 h 146"/>
                <a:gd name="T40" fmla="*/ 97 w 105"/>
                <a:gd name="T41" fmla="*/ 51 h 146"/>
                <a:gd name="T42" fmla="*/ 97 w 105"/>
                <a:gd name="T43" fmla="*/ 59 h 146"/>
                <a:gd name="T44" fmla="*/ 91 w 105"/>
                <a:gd name="T45" fmla="*/ 69 h 146"/>
                <a:gd name="T46" fmla="*/ 88 w 105"/>
                <a:gd name="T47" fmla="*/ 72 h 146"/>
                <a:gd name="T48" fmla="*/ 81 w 105"/>
                <a:gd name="T49" fmla="*/ 87 h 146"/>
                <a:gd name="T50" fmla="*/ 81 w 105"/>
                <a:gd name="T51" fmla="*/ 88 h 146"/>
                <a:gd name="T52" fmla="*/ 81 w 105"/>
                <a:gd name="T53" fmla="*/ 109 h 146"/>
                <a:gd name="T54" fmla="*/ 84 w 105"/>
                <a:gd name="T55" fmla="*/ 113 h 146"/>
                <a:gd name="T56" fmla="*/ 87 w 105"/>
                <a:gd name="T57" fmla="*/ 107 h 146"/>
                <a:gd name="T58" fmla="*/ 87 w 105"/>
                <a:gd name="T59" fmla="*/ 90 h 146"/>
                <a:gd name="T60" fmla="*/ 87 w 105"/>
                <a:gd name="T61" fmla="*/ 90 h 146"/>
                <a:gd name="T62" fmla="*/ 94 w 105"/>
                <a:gd name="T63" fmla="*/ 76 h 146"/>
                <a:gd name="T64" fmla="*/ 94 w 105"/>
                <a:gd name="T65" fmla="*/ 75 h 146"/>
                <a:gd name="T66" fmla="*/ 104 w 105"/>
                <a:gd name="T67" fmla="*/ 60 h 146"/>
                <a:gd name="T68" fmla="*/ 102 w 105"/>
                <a:gd name="T69" fmla="*/ 46 h 146"/>
                <a:gd name="T70" fmla="*/ 101 w 105"/>
                <a:gd name="T71" fmla="*/ 45 h 146"/>
                <a:gd name="T72" fmla="*/ 101 w 105"/>
                <a:gd name="T73" fmla="*/ 45 h 146"/>
                <a:gd name="T74" fmla="*/ 101 w 105"/>
                <a:gd name="T75" fmla="*/ 45 h 146"/>
                <a:gd name="T76" fmla="*/ 95 w 105"/>
                <a:gd name="T77" fmla="*/ 16 h 146"/>
                <a:gd name="T78" fmla="*/ 62 w 105"/>
                <a:gd name="T79" fmla="*/ 0 h 146"/>
                <a:gd name="T80" fmla="*/ 28 w 105"/>
                <a:gd name="T81" fmla="*/ 16 h 146"/>
                <a:gd name="T82" fmla="*/ 23 w 105"/>
                <a:gd name="T83" fmla="*/ 45 h 146"/>
                <a:gd name="T84" fmla="*/ 23 w 105"/>
                <a:gd name="T85" fmla="*/ 45 h 146"/>
                <a:gd name="T86" fmla="*/ 23 w 105"/>
                <a:gd name="T87" fmla="*/ 45 h 146"/>
                <a:gd name="T88" fmla="*/ 21 w 105"/>
                <a:gd name="T89" fmla="*/ 46 h 146"/>
                <a:gd name="T90" fmla="*/ 19 w 105"/>
                <a:gd name="T91" fmla="*/ 60 h 146"/>
                <a:gd name="T92" fmla="*/ 30 w 105"/>
                <a:gd name="T93" fmla="*/ 75 h 146"/>
                <a:gd name="T94" fmla="*/ 30 w 105"/>
                <a:gd name="T95" fmla="*/ 76 h 146"/>
                <a:gd name="T96" fmla="*/ 36 w 105"/>
                <a:gd name="T97" fmla="*/ 90 h 146"/>
                <a:gd name="T98" fmla="*/ 36 w 105"/>
                <a:gd name="T99" fmla="*/ 90 h 146"/>
                <a:gd name="T100" fmla="*/ 36 w 105"/>
                <a:gd name="T101" fmla="*/ 107 h 146"/>
                <a:gd name="T102" fmla="*/ 28 w 105"/>
                <a:gd name="T103" fmla="*/ 111 h 146"/>
                <a:gd name="T104" fmla="*/ 28 w 105"/>
                <a:gd name="T105" fmla="*/ 112 h 146"/>
                <a:gd name="T106" fmla="*/ 0 w 105"/>
                <a:gd name="T107" fmla="*/ 142 h 146"/>
                <a:gd name="T108" fmla="*/ 4 w 105"/>
                <a:gd name="T109" fmla="*/ 146 h 146"/>
                <a:gd name="T110" fmla="*/ 84 w 105"/>
                <a:gd name="T111" fmla="*/ 146 h 146"/>
                <a:gd name="T112" fmla="*/ 82 w 105"/>
                <a:gd name="T113" fmla="*/ 139 h 146"/>
                <a:gd name="T114" fmla="*/ 7 w 105"/>
                <a:gd name="T115" fmla="*/ 13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5" h="146">
                  <a:moveTo>
                    <a:pt x="7" y="139"/>
                  </a:moveTo>
                  <a:cubicBezTo>
                    <a:pt x="7" y="139"/>
                    <a:pt x="7" y="139"/>
                    <a:pt x="7" y="139"/>
                  </a:cubicBezTo>
                  <a:cubicBezTo>
                    <a:pt x="9" y="129"/>
                    <a:pt x="17" y="122"/>
                    <a:pt x="31" y="117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7" y="115"/>
                    <a:pt x="41" y="113"/>
                    <a:pt x="42" y="109"/>
                  </a:cubicBezTo>
                  <a:cubicBezTo>
                    <a:pt x="45" y="103"/>
                    <a:pt x="43" y="91"/>
                    <a:pt x="42" y="88"/>
                  </a:cubicBezTo>
                  <a:cubicBezTo>
                    <a:pt x="42" y="88"/>
                    <a:pt x="42" y="87"/>
                    <a:pt x="42" y="87"/>
                  </a:cubicBezTo>
                  <a:cubicBezTo>
                    <a:pt x="39" y="83"/>
                    <a:pt x="37" y="78"/>
                    <a:pt x="35" y="72"/>
                  </a:cubicBezTo>
                  <a:cubicBezTo>
                    <a:pt x="35" y="70"/>
                    <a:pt x="33" y="69"/>
                    <a:pt x="32" y="69"/>
                  </a:cubicBezTo>
                  <a:cubicBezTo>
                    <a:pt x="30" y="69"/>
                    <a:pt x="27" y="65"/>
                    <a:pt x="26" y="59"/>
                  </a:cubicBezTo>
                  <a:cubicBezTo>
                    <a:pt x="25" y="53"/>
                    <a:pt x="26" y="51"/>
                    <a:pt x="26" y="51"/>
                  </a:cubicBezTo>
                  <a:cubicBezTo>
                    <a:pt x="26" y="50"/>
                    <a:pt x="26" y="50"/>
                    <a:pt x="27" y="50"/>
                  </a:cubicBezTo>
                  <a:cubicBezTo>
                    <a:pt x="28" y="50"/>
                    <a:pt x="29" y="50"/>
                    <a:pt x="29" y="49"/>
                  </a:cubicBezTo>
                  <a:cubicBezTo>
                    <a:pt x="30" y="48"/>
                    <a:pt x="30" y="47"/>
                    <a:pt x="30" y="46"/>
                  </a:cubicBezTo>
                  <a:cubicBezTo>
                    <a:pt x="27" y="37"/>
                    <a:pt x="28" y="27"/>
                    <a:pt x="33" y="19"/>
                  </a:cubicBezTo>
                  <a:cubicBezTo>
                    <a:pt x="40" y="11"/>
                    <a:pt x="49" y="6"/>
                    <a:pt x="62" y="6"/>
                  </a:cubicBezTo>
                  <a:cubicBezTo>
                    <a:pt x="74" y="6"/>
                    <a:pt x="84" y="11"/>
                    <a:pt x="90" y="19"/>
                  </a:cubicBezTo>
                  <a:cubicBezTo>
                    <a:pt x="95" y="27"/>
                    <a:pt x="96" y="37"/>
                    <a:pt x="93" y="46"/>
                  </a:cubicBezTo>
                  <a:cubicBezTo>
                    <a:pt x="93" y="47"/>
                    <a:pt x="93" y="48"/>
                    <a:pt x="94" y="49"/>
                  </a:cubicBezTo>
                  <a:cubicBezTo>
                    <a:pt x="95" y="50"/>
                    <a:pt x="96" y="50"/>
                    <a:pt x="97" y="50"/>
                  </a:cubicBezTo>
                  <a:cubicBezTo>
                    <a:pt x="97" y="50"/>
                    <a:pt x="97" y="50"/>
                    <a:pt x="97" y="51"/>
                  </a:cubicBezTo>
                  <a:cubicBezTo>
                    <a:pt x="97" y="51"/>
                    <a:pt x="99" y="52"/>
                    <a:pt x="97" y="59"/>
                  </a:cubicBezTo>
                  <a:cubicBezTo>
                    <a:pt x="97" y="65"/>
                    <a:pt x="93" y="69"/>
                    <a:pt x="91" y="69"/>
                  </a:cubicBezTo>
                  <a:cubicBezTo>
                    <a:pt x="90" y="69"/>
                    <a:pt x="88" y="70"/>
                    <a:pt x="88" y="72"/>
                  </a:cubicBezTo>
                  <a:cubicBezTo>
                    <a:pt x="86" y="78"/>
                    <a:pt x="84" y="83"/>
                    <a:pt x="81" y="87"/>
                  </a:cubicBezTo>
                  <a:cubicBezTo>
                    <a:pt x="81" y="87"/>
                    <a:pt x="81" y="88"/>
                    <a:pt x="81" y="88"/>
                  </a:cubicBezTo>
                  <a:cubicBezTo>
                    <a:pt x="80" y="91"/>
                    <a:pt x="78" y="103"/>
                    <a:pt x="81" y="109"/>
                  </a:cubicBezTo>
                  <a:cubicBezTo>
                    <a:pt x="82" y="111"/>
                    <a:pt x="83" y="112"/>
                    <a:pt x="84" y="113"/>
                  </a:cubicBezTo>
                  <a:cubicBezTo>
                    <a:pt x="87" y="107"/>
                    <a:pt x="87" y="107"/>
                    <a:pt x="87" y="107"/>
                  </a:cubicBezTo>
                  <a:cubicBezTo>
                    <a:pt x="86" y="103"/>
                    <a:pt x="86" y="94"/>
                    <a:pt x="87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0" y="86"/>
                    <a:pt x="92" y="81"/>
                    <a:pt x="94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9" y="74"/>
                    <a:pt x="103" y="66"/>
                    <a:pt x="104" y="60"/>
                  </a:cubicBezTo>
                  <a:cubicBezTo>
                    <a:pt x="105" y="53"/>
                    <a:pt x="104" y="49"/>
                    <a:pt x="102" y="46"/>
                  </a:cubicBezTo>
                  <a:cubicBezTo>
                    <a:pt x="102" y="46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3" y="35"/>
                    <a:pt x="101" y="24"/>
                    <a:pt x="95" y="16"/>
                  </a:cubicBezTo>
                  <a:cubicBezTo>
                    <a:pt x="88" y="5"/>
                    <a:pt x="76" y="0"/>
                    <a:pt x="62" y="0"/>
                  </a:cubicBezTo>
                  <a:cubicBezTo>
                    <a:pt x="47" y="0"/>
                    <a:pt x="35" y="5"/>
                    <a:pt x="28" y="16"/>
                  </a:cubicBezTo>
                  <a:cubicBezTo>
                    <a:pt x="22" y="24"/>
                    <a:pt x="20" y="3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2" y="45"/>
                    <a:pt x="21" y="46"/>
                    <a:pt x="21" y="46"/>
                  </a:cubicBezTo>
                  <a:cubicBezTo>
                    <a:pt x="19" y="49"/>
                    <a:pt x="18" y="53"/>
                    <a:pt x="19" y="60"/>
                  </a:cubicBezTo>
                  <a:cubicBezTo>
                    <a:pt x="20" y="66"/>
                    <a:pt x="24" y="74"/>
                    <a:pt x="30" y="75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1" y="81"/>
                    <a:pt x="34" y="86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1"/>
                    <a:pt x="38" y="102"/>
                    <a:pt x="36" y="107"/>
                  </a:cubicBezTo>
                  <a:cubicBezTo>
                    <a:pt x="35" y="109"/>
                    <a:pt x="32" y="110"/>
                    <a:pt x="28" y="111"/>
                  </a:cubicBezTo>
                  <a:cubicBezTo>
                    <a:pt x="28" y="112"/>
                    <a:pt x="28" y="112"/>
                    <a:pt x="28" y="112"/>
                  </a:cubicBezTo>
                  <a:cubicBezTo>
                    <a:pt x="18" y="115"/>
                    <a:pt x="0" y="123"/>
                    <a:pt x="0" y="142"/>
                  </a:cubicBezTo>
                  <a:cubicBezTo>
                    <a:pt x="0" y="142"/>
                    <a:pt x="0" y="146"/>
                    <a:pt x="4" y="146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2" y="139"/>
                    <a:pt x="82" y="139"/>
                    <a:pt x="82" y="139"/>
                  </a:cubicBezTo>
                  <a:lnTo>
                    <a:pt x="7" y="1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4" name="Freeform 38">
              <a:extLst>
                <a:ext uri="{FF2B5EF4-FFF2-40B4-BE49-F238E27FC236}">
                  <a16:creationId xmlns:a16="http://schemas.microsoft.com/office/drawing/2014/main" id="{672A20C5-8D27-5EEC-0620-541AF19DE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9650" y="5825993"/>
              <a:ext cx="243267" cy="243267"/>
            </a:xfrm>
            <a:custGeom>
              <a:avLst/>
              <a:gdLst>
                <a:gd name="T0" fmla="*/ 74 w 77"/>
                <a:gd name="T1" fmla="*/ 24 h 77"/>
                <a:gd name="T2" fmla="*/ 73 w 77"/>
                <a:gd name="T3" fmla="*/ 23 h 77"/>
                <a:gd name="T4" fmla="*/ 71 w 77"/>
                <a:gd name="T5" fmla="*/ 23 h 77"/>
                <a:gd name="T6" fmla="*/ 69 w 77"/>
                <a:gd name="T7" fmla="*/ 27 h 77"/>
                <a:gd name="T8" fmla="*/ 71 w 77"/>
                <a:gd name="T9" fmla="*/ 38 h 77"/>
                <a:gd name="T10" fmla="*/ 39 w 77"/>
                <a:gd name="T11" fmla="*/ 71 h 77"/>
                <a:gd name="T12" fmla="*/ 6 w 77"/>
                <a:gd name="T13" fmla="*/ 38 h 77"/>
                <a:gd name="T14" fmla="*/ 39 w 77"/>
                <a:gd name="T15" fmla="*/ 6 h 77"/>
                <a:gd name="T16" fmla="*/ 62 w 77"/>
                <a:gd name="T17" fmla="*/ 16 h 77"/>
                <a:gd name="T18" fmla="*/ 64 w 77"/>
                <a:gd name="T19" fmla="*/ 17 h 77"/>
                <a:gd name="T20" fmla="*/ 64 w 77"/>
                <a:gd name="T21" fmla="*/ 17 h 77"/>
                <a:gd name="T22" fmla="*/ 66 w 77"/>
                <a:gd name="T23" fmla="*/ 16 h 77"/>
                <a:gd name="T24" fmla="*/ 67 w 77"/>
                <a:gd name="T25" fmla="*/ 14 h 77"/>
                <a:gd name="T26" fmla="*/ 66 w 77"/>
                <a:gd name="T27" fmla="*/ 12 h 77"/>
                <a:gd name="T28" fmla="*/ 39 w 77"/>
                <a:gd name="T29" fmla="*/ 0 h 77"/>
                <a:gd name="T30" fmla="*/ 0 w 77"/>
                <a:gd name="T31" fmla="*/ 38 h 77"/>
                <a:gd name="T32" fmla="*/ 39 w 77"/>
                <a:gd name="T33" fmla="*/ 77 h 77"/>
                <a:gd name="T34" fmla="*/ 77 w 77"/>
                <a:gd name="T35" fmla="*/ 38 h 77"/>
                <a:gd name="T36" fmla="*/ 74 w 77"/>
                <a:gd name="T37" fmla="*/ 2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77">
                  <a:moveTo>
                    <a:pt x="74" y="24"/>
                  </a:moveTo>
                  <a:cubicBezTo>
                    <a:pt x="74" y="24"/>
                    <a:pt x="73" y="23"/>
                    <a:pt x="73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69" y="23"/>
                    <a:pt x="68" y="25"/>
                    <a:pt x="69" y="27"/>
                  </a:cubicBezTo>
                  <a:cubicBezTo>
                    <a:pt x="70" y="30"/>
                    <a:pt x="71" y="34"/>
                    <a:pt x="71" y="38"/>
                  </a:cubicBezTo>
                  <a:cubicBezTo>
                    <a:pt x="71" y="56"/>
                    <a:pt x="57" y="71"/>
                    <a:pt x="39" y="71"/>
                  </a:cubicBezTo>
                  <a:cubicBezTo>
                    <a:pt x="21" y="71"/>
                    <a:pt x="6" y="56"/>
                    <a:pt x="6" y="38"/>
                  </a:cubicBezTo>
                  <a:cubicBezTo>
                    <a:pt x="6" y="21"/>
                    <a:pt x="21" y="6"/>
                    <a:pt x="39" y="6"/>
                  </a:cubicBezTo>
                  <a:cubicBezTo>
                    <a:pt x="48" y="6"/>
                    <a:pt x="56" y="10"/>
                    <a:pt x="62" y="16"/>
                  </a:cubicBezTo>
                  <a:cubicBezTo>
                    <a:pt x="63" y="17"/>
                    <a:pt x="64" y="17"/>
                    <a:pt x="64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5" y="17"/>
                    <a:pt x="66" y="17"/>
                    <a:pt x="66" y="16"/>
                  </a:cubicBezTo>
                  <a:cubicBezTo>
                    <a:pt x="67" y="16"/>
                    <a:pt x="67" y="15"/>
                    <a:pt x="67" y="14"/>
                  </a:cubicBezTo>
                  <a:cubicBezTo>
                    <a:pt x="67" y="13"/>
                    <a:pt x="67" y="13"/>
                    <a:pt x="66" y="12"/>
                  </a:cubicBezTo>
                  <a:cubicBezTo>
                    <a:pt x="59" y="4"/>
                    <a:pt x="49" y="0"/>
                    <a:pt x="39" y="0"/>
                  </a:cubicBezTo>
                  <a:cubicBezTo>
                    <a:pt x="18" y="0"/>
                    <a:pt x="0" y="17"/>
                    <a:pt x="0" y="38"/>
                  </a:cubicBezTo>
                  <a:cubicBezTo>
                    <a:pt x="0" y="60"/>
                    <a:pt x="18" y="77"/>
                    <a:pt x="39" y="77"/>
                  </a:cubicBezTo>
                  <a:cubicBezTo>
                    <a:pt x="60" y="77"/>
                    <a:pt x="77" y="60"/>
                    <a:pt x="77" y="38"/>
                  </a:cubicBezTo>
                  <a:cubicBezTo>
                    <a:pt x="77" y="34"/>
                    <a:pt x="76" y="29"/>
                    <a:pt x="74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5" name="Freeform 39">
              <a:extLst>
                <a:ext uri="{FF2B5EF4-FFF2-40B4-BE49-F238E27FC236}">
                  <a16:creationId xmlns:a16="http://schemas.microsoft.com/office/drawing/2014/main" id="{B7E7DB86-1CF2-7C30-437B-50BB0E836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798" y="5863418"/>
              <a:ext cx="180445" cy="129654"/>
            </a:xfrm>
            <a:custGeom>
              <a:avLst/>
              <a:gdLst>
                <a:gd name="T0" fmla="*/ 5 w 57"/>
                <a:gd name="T1" fmla="*/ 19 h 41"/>
                <a:gd name="T2" fmla="*/ 1 w 57"/>
                <a:gd name="T3" fmla="*/ 19 h 41"/>
                <a:gd name="T4" fmla="*/ 0 w 57"/>
                <a:gd name="T5" fmla="*/ 21 h 41"/>
                <a:gd name="T6" fmla="*/ 1 w 57"/>
                <a:gd name="T7" fmla="*/ 24 h 41"/>
                <a:gd name="T8" fmla="*/ 18 w 57"/>
                <a:gd name="T9" fmla="*/ 40 h 41"/>
                <a:gd name="T10" fmla="*/ 20 w 57"/>
                <a:gd name="T11" fmla="*/ 41 h 41"/>
                <a:gd name="T12" fmla="*/ 22 w 57"/>
                <a:gd name="T13" fmla="*/ 40 h 41"/>
                <a:gd name="T14" fmla="*/ 56 w 57"/>
                <a:gd name="T15" fmla="*/ 5 h 41"/>
                <a:gd name="T16" fmla="*/ 56 w 57"/>
                <a:gd name="T17" fmla="*/ 1 h 41"/>
                <a:gd name="T18" fmla="*/ 54 w 57"/>
                <a:gd name="T19" fmla="*/ 0 h 41"/>
                <a:gd name="T20" fmla="*/ 52 w 57"/>
                <a:gd name="T21" fmla="*/ 1 h 41"/>
                <a:gd name="T22" fmla="*/ 20 w 57"/>
                <a:gd name="T23" fmla="*/ 34 h 41"/>
                <a:gd name="T24" fmla="*/ 5 w 57"/>
                <a:gd name="T25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1">
                  <a:moveTo>
                    <a:pt x="5" y="19"/>
                  </a:moveTo>
                  <a:cubicBezTo>
                    <a:pt x="4" y="18"/>
                    <a:pt x="2" y="18"/>
                    <a:pt x="1" y="19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2"/>
                    <a:pt x="0" y="23"/>
                    <a:pt x="1" y="24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1"/>
                    <a:pt x="19" y="41"/>
                    <a:pt x="20" y="41"/>
                  </a:cubicBezTo>
                  <a:cubicBezTo>
                    <a:pt x="21" y="41"/>
                    <a:pt x="21" y="41"/>
                    <a:pt x="22" y="4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4"/>
                    <a:pt x="57" y="2"/>
                    <a:pt x="56" y="1"/>
                  </a:cubicBezTo>
                  <a:cubicBezTo>
                    <a:pt x="55" y="0"/>
                    <a:pt x="54" y="0"/>
                    <a:pt x="54" y="0"/>
                  </a:cubicBezTo>
                  <a:cubicBezTo>
                    <a:pt x="53" y="0"/>
                    <a:pt x="52" y="0"/>
                    <a:pt x="52" y="1"/>
                  </a:cubicBezTo>
                  <a:cubicBezTo>
                    <a:pt x="20" y="34"/>
                    <a:pt x="20" y="34"/>
                    <a:pt x="20" y="34"/>
                  </a:cubicBezTo>
                  <a:lnTo>
                    <a:pt x="5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472D606-400A-F5AB-AEAA-EC4739D6D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192678" y="2499741"/>
            <a:ext cx="164080" cy="170993"/>
            <a:chOff x="8362950" y="4254500"/>
            <a:chExt cx="530225" cy="539751"/>
          </a:xfrm>
          <a:solidFill>
            <a:schemeClr val="accent6"/>
          </a:solidFill>
        </p:grpSpPr>
        <p:sp>
          <p:nvSpPr>
            <p:cNvPr id="151" name="Freeform 39">
              <a:extLst>
                <a:ext uri="{FF2B5EF4-FFF2-40B4-BE49-F238E27FC236}">
                  <a16:creationId xmlns:a16="http://schemas.microsoft.com/office/drawing/2014/main" id="{93ECF67C-0531-4F10-D97F-FFC9F2CC1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2950" y="4254500"/>
              <a:ext cx="331787" cy="460375"/>
            </a:xfrm>
            <a:custGeom>
              <a:avLst/>
              <a:gdLst>
                <a:gd name="T0" fmla="*/ 92 w 105"/>
                <a:gd name="T1" fmla="*/ 140 h 146"/>
                <a:gd name="T2" fmla="*/ 7 w 105"/>
                <a:gd name="T3" fmla="*/ 140 h 146"/>
                <a:gd name="T4" fmla="*/ 7 w 105"/>
                <a:gd name="T5" fmla="*/ 140 h 146"/>
                <a:gd name="T6" fmla="*/ 31 w 105"/>
                <a:gd name="T7" fmla="*/ 118 h 146"/>
                <a:gd name="T8" fmla="*/ 31 w 105"/>
                <a:gd name="T9" fmla="*/ 118 h 146"/>
                <a:gd name="T10" fmla="*/ 42 w 105"/>
                <a:gd name="T11" fmla="*/ 110 h 146"/>
                <a:gd name="T12" fmla="*/ 42 w 105"/>
                <a:gd name="T13" fmla="*/ 89 h 146"/>
                <a:gd name="T14" fmla="*/ 42 w 105"/>
                <a:gd name="T15" fmla="*/ 87 h 146"/>
                <a:gd name="T16" fmla="*/ 35 w 105"/>
                <a:gd name="T17" fmla="*/ 72 h 146"/>
                <a:gd name="T18" fmla="*/ 32 w 105"/>
                <a:gd name="T19" fmla="*/ 70 h 146"/>
                <a:gd name="T20" fmla="*/ 25 w 105"/>
                <a:gd name="T21" fmla="*/ 59 h 146"/>
                <a:gd name="T22" fmla="*/ 26 w 105"/>
                <a:gd name="T23" fmla="*/ 51 h 146"/>
                <a:gd name="T24" fmla="*/ 26 w 105"/>
                <a:gd name="T25" fmla="*/ 51 h 146"/>
                <a:gd name="T26" fmla="*/ 29 w 105"/>
                <a:gd name="T27" fmla="*/ 49 h 146"/>
                <a:gd name="T28" fmla="*/ 29 w 105"/>
                <a:gd name="T29" fmla="*/ 46 h 146"/>
                <a:gd name="T30" fmla="*/ 33 w 105"/>
                <a:gd name="T31" fmla="*/ 20 h 146"/>
                <a:gd name="T32" fmla="*/ 61 w 105"/>
                <a:gd name="T33" fmla="*/ 6 h 146"/>
                <a:gd name="T34" fmla="*/ 89 w 105"/>
                <a:gd name="T35" fmla="*/ 20 h 146"/>
                <a:gd name="T36" fmla="*/ 93 w 105"/>
                <a:gd name="T37" fmla="*/ 46 h 146"/>
                <a:gd name="T38" fmla="*/ 94 w 105"/>
                <a:gd name="T39" fmla="*/ 49 h 146"/>
                <a:gd name="T40" fmla="*/ 96 w 105"/>
                <a:gd name="T41" fmla="*/ 51 h 146"/>
                <a:gd name="T42" fmla="*/ 97 w 105"/>
                <a:gd name="T43" fmla="*/ 51 h 146"/>
                <a:gd name="T44" fmla="*/ 97 w 105"/>
                <a:gd name="T45" fmla="*/ 59 h 146"/>
                <a:gd name="T46" fmla="*/ 91 w 105"/>
                <a:gd name="T47" fmla="*/ 70 h 146"/>
                <a:gd name="T48" fmla="*/ 88 w 105"/>
                <a:gd name="T49" fmla="*/ 72 h 146"/>
                <a:gd name="T50" fmla="*/ 81 w 105"/>
                <a:gd name="T51" fmla="*/ 87 h 146"/>
                <a:gd name="T52" fmla="*/ 81 w 105"/>
                <a:gd name="T53" fmla="*/ 89 h 146"/>
                <a:gd name="T54" fmla="*/ 81 w 105"/>
                <a:gd name="T55" fmla="*/ 110 h 146"/>
                <a:gd name="T56" fmla="*/ 89 w 105"/>
                <a:gd name="T57" fmla="*/ 117 h 146"/>
                <a:gd name="T58" fmla="*/ 90 w 105"/>
                <a:gd name="T59" fmla="*/ 110 h 146"/>
                <a:gd name="T60" fmla="*/ 87 w 105"/>
                <a:gd name="T61" fmla="*/ 107 h 146"/>
                <a:gd name="T62" fmla="*/ 87 w 105"/>
                <a:gd name="T63" fmla="*/ 90 h 146"/>
                <a:gd name="T64" fmla="*/ 87 w 105"/>
                <a:gd name="T65" fmla="*/ 90 h 146"/>
                <a:gd name="T66" fmla="*/ 93 w 105"/>
                <a:gd name="T67" fmla="*/ 76 h 146"/>
                <a:gd name="T68" fmla="*/ 93 w 105"/>
                <a:gd name="T69" fmla="*/ 76 h 146"/>
                <a:gd name="T70" fmla="*/ 104 w 105"/>
                <a:gd name="T71" fmla="*/ 60 h 146"/>
                <a:gd name="T72" fmla="*/ 102 w 105"/>
                <a:gd name="T73" fmla="*/ 47 h 146"/>
                <a:gd name="T74" fmla="*/ 100 w 105"/>
                <a:gd name="T75" fmla="*/ 45 h 146"/>
                <a:gd name="T76" fmla="*/ 100 w 105"/>
                <a:gd name="T77" fmla="*/ 45 h 146"/>
                <a:gd name="T78" fmla="*/ 100 w 105"/>
                <a:gd name="T79" fmla="*/ 45 h 146"/>
                <a:gd name="T80" fmla="*/ 95 w 105"/>
                <a:gd name="T81" fmla="*/ 16 h 146"/>
                <a:gd name="T82" fmla="*/ 61 w 105"/>
                <a:gd name="T83" fmla="*/ 0 h 146"/>
                <a:gd name="T84" fmla="*/ 28 w 105"/>
                <a:gd name="T85" fmla="*/ 16 h 146"/>
                <a:gd name="T86" fmla="*/ 22 w 105"/>
                <a:gd name="T87" fmla="*/ 45 h 146"/>
                <a:gd name="T88" fmla="*/ 22 w 105"/>
                <a:gd name="T89" fmla="*/ 45 h 146"/>
                <a:gd name="T90" fmla="*/ 22 w 105"/>
                <a:gd name="T91" fmla="*/ 45 h 146"/>
                <a:gd name="T92" fmla="*/ 21 w 105"/>
                <a:gd name="T93" fmla="*/ 47 h 146"/>
                <a:gd name="T94" fmla="*/ 19 w 105"/>
                <a:gd name="T95" fmla="*/ 61 h 146"/>
                <a:gd name="T96" fmla="*/ 29 w 105"/>
                <a:gd name="T97" fmla="*/ 76 h 146"/>
                <a:gd name="T98" fmla="*/ 29 w 105"/>
                <a:gd name="T99" fmla="*/ 76 h 146"/>
                <a:gd name="T100" fmla="*/ 36 w 105"/>
                <a:gd name="T101" fmla="*/ 90 h 146"/>
                <a:gd name="T102" fmla="*/ 36 w 105"/>
                <a:gd name="T103" fmla="*/ 90 h 146"/>
                <a:gd name="T104" fmla="*/ 36 w 105"/>
                <a:gd name="T105" fmla="*/ 107 h 146"/>
                <a:gd name="T106" fmla="*/ 28 w 105"/>
                <a:gd name="T107" fmla="*/ 112 h 146"/>
                <a:gd name="T108" fmla="*/ 27 w 105"/>
                <a:gd name="T109" fmla="*/ 112 h 146"/>
                <a:gd name="T110" fmla="*/ 0 w 105"/>
                <a:gd name="T111" fmla="*/ 142 h 146"/>
                <a:gd name="T112" fmla="*/ 3 w 105"/>
                <a:gd name="T113" fmla="*/ 146 h 146"/>
                <a:gd name="T114" fmla="*/ 95 w 105"/>
                <a:gd name="T115" fmla="*/ 146 h 146"/>
                <a:gd name="T116" fmla="*/ 92 w 105"/>
                <a:gd name="T117" fmla="*/ 14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5" h="146">
                  <a:moveTo>
                    <a:pt x="92" y="140"/>
                  </a:moveTo>
                  <a:cubicBezTo>
                    <a:pt x="7" y="140"/>
                    <a:pt x="7" y="140"/>
                    <a:pt x="7" y="140"/>
                  </a:cubicBezTo>
                  <a:cubicBezTo>
                    <a:pt x="7" y="140"/>
                    <a:pt x="7" y="140"/>
                    <a:pt x="7" y="140"/>
                  </a:cubicBezTo>
                  <a:cubicBezTo>
                    <a:pt x="9" y="129"/>
                    <a:pt x="16" y="122"/>
                    <a:pt x="31" y="118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6" y="116"/>
                    <a:pt x="40" y="114"/>
                    <a:pt x="42" y="110"/>
                  </a:cubicBezTo>
                  <a:cubicBezTo>
                    <a:pt x="45" y="103"/>
                    <a:pt x="42" y="91"/>
                    <a:pt x="42" y="89"/>
                  </a:cubicBezTo>
                  <a:cubicBezTo>
                    <a:pt x="42" y="88"/>
                    <a:pt x="42" y="88"/>
                    <a:pt x="42" y="87"/>
                  </a:cubicBezTo>
                  <a:cubicBezTo>
                    <a:pt x="39" y="83"/>
                    <a:pt x="37" y="78"/>
                    <a:pt x="35" y="72"/>
                  </a:cubicBezTo>
                  <a:cubicBezTo>
                    <a:pt x="34" y="71"/>
                    <a:pt x="33" y="70"/>
                    <a:pt x="32" y="70"/>
                  </a:cubicBezTo>
                  <a:cubicBezTo>
                    <a:pt x="30" y="70"/>
                    <a:pt x="26" y="65"/>
                    <a:pt x="25" y="59"/>
                  </a:cubicBezTo>
                  <a:cubicBezTo>
                    <a:pt x="24" y="53"/>
                    <a:pt x="25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7" y="51"/>
                    <a:pt x="28" y="50"/>
                    <a:pt x="29" y="49"/>
                  </a:cubicBezTo>
                  <a:cubicBezTo>
                    <a:pt x="30" y="49"/>
                    <a:pt x="30" y="47"/>
                    <a:pt x="29" y="46"/>
                  </a:cubicBezTo>
                  <a:cubicBezTo>
                    <a:pt x="26" y="37"/>
                    <a:pt x="28" y="27"/>
                    <a:pt x="33" y="20"/>
                  </a:cubicBezTo>
                  <a:cubicBezTo>
                    <a:pt x="39" y="11"/>
                    <a:pt x="49" y="6"/>
                    <a:pt x="61" y="6"/>
                  </a:cubicBezTo>
                  <a:cubicBezTo>
                    <a:pt x="73" y="6"/>
                    <a:pt x="83" y="11"/>
                    <a:pt x="89" y="20"/>
                  </a:cubicBezTo>
                  <a:cubicBezTo>
                    <a:pt x="95" y="27"/>
                    <a:pt x="96" y="37"/>
                    <a:pt x="93" y="46"/>
                  </a:cubicBezTo>
                  <a:cubicBezTo>
                    <a:pt x="93" y="47"/>
                    <a:pt x="93" y="49"/>
                    <a:pt x="94" y="49"/>
                  </a:cubicBezTo>
                  <a:cubicBezTo>
                    <a:pt x="94" y="50"/>
                    <a:pt x="95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8" y="53"/>
                    <a:pt x="97" y="59"/>
                  </a:cubicBezTo>
                  <a:cubicBezTo>
                    <a:pt x="96" y="65"/>
                    <a:pt x="93" y="70"/>
                    <a:pt x="91" y="70"/>
                  </a:cubicBezTo>
                  <a:cubicBezTo>
                    <a:pt x="89" y="70"/>
                    <a:pt x="88" y="71"/>
                    <a:pt x="88" y="72"/>
                  </a:cubicBezTo>
                  <a:cubicBezTo>
                    <a:pt x="86" y="78"/>
                    <a:pt x="84" y="83"/>
                    <a:pt x="81" y="87"/>
                  </a:cubicBezTo>
                  <a:cubicBezTo>
                    <a:pt x="81" y="88"/>
                    <a:pt x="81" y="88"/>
                    <a:pt x="81" y="89"/>
                  </a:cubicBezTo>
                  <a:cubicBezTo>
                    <a:pt x="80" y="91"/>
                    <a:pt x="78" y="103"/>
                    <a:pt x="81" y="110"/>
                  </a:cubicBezTo>
                  <a:cubicBezTo>
                    <a:pt x="82" y="113"/>
                    <a:pt x="85" y="115"/>
                    <a:pt x="89" y="117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88" y="109"/>
                    <a:pt x="87" y="108"/>
                    <a:pt x="87" y="107"/>
                  </a:cubicBezTo>
                  <a:cubicBezTo>
                    <a:pt x="85" y="104"/>
                    <a:pt x="86" y="95"/>
                    <a:pt x="87" y="9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89" y="86"/>
                    <a:pt x="92" y="81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9" y="74"/>
                    <a:pt x="103" y="67"/>
                    <a:pt x="104" y="60"/>
                  </a:cubicBezTo>
                  <a:cubicBezTo>
                    <a:pt x="105" y="54"/>
                    <a:pt x="104" y="49"/>
                    <a:pt x="102" y="47"/>
                  </a:cubicBezTo>
                  <a:cubicBezTo>
                    <a:pt x="102" y="46"/>
                    <a:pt x="101" y="46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3" y="35"/>
                    <a:pt x="101" y="24"/>
                    <a:pt x="95" y="16"/>
                  </a:cubicBezTo>
                  <a:cubicBezTo>
                    <a:pt x="87" y="6"/>
                    <a:pt x="76" y="0"/>
                    <a:pt x="61" y="0"/>
                  </a:cubicBezTo>
                  <a:cubicBezTo>
                    <a:pt x="47" y="0"/>
                    <a:pt x="35" y="6"/>
                    <a:pt x="28" y="16"/>
                  </a:cubicBezTo>
                  <a:cubicBezTo>
                    <a:pt x="22" y="24"/>
                    <a:pt x="20" y="3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6"/>
                    <a:pt x="21" y="46"/>
                    <a:pt x="21" y="47"/>
                  </a:cubicBezTo>
                  <a:cubicBezTo>
                    <a:pt x="18" y="49"/>
                    <a:pt x="18" y="54"/>
                    <a:pt x="19" y="61"/>
                  </a:cubicBezTo>
                  <a:cubicBezTo>
                    <a:pt x="20" y="67"/>
                    <a:pt x="24" y="74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1" y="81"/>
                    <a:pt x="33" y="86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2"/>
                    <a:pt x="38" y="103"/>
                    <a:pt x="36" y="107"/>
                  </a:cubicBezTo>
                  <a:cubicBezTo>
                    <a:pt x="35" y="109"/>
                    <a:pt x="32" y="110"/>
                    <a:pt x="28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18" y="116"/>
                    <a:pt x="0" y="123"/>
                    <a:pt x="0" y="142"/>
                  </a:cubicBezTo>
                  <a:cubicBezTo>
                    <a:pt x="0" y="142"/>
                    <a:pt x="0" y="146"/>
                    <a:pt x="3" y="146"/>
                  </a:cubicBezTo>
                  <a:cubicBezTo>
                    <a:pt x="95" y="146"/>
                    <a:pt x="95" y="146"/>
                    <a:pt x="95" y="146"/>
                  </a:cubicBezTo>
                  <a:lnTo>
                    <a:pt x="92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2" name="Freeform 40">
              <a:extLst>
                <a:ext uri="{FF2B5EF4-FFF2-40B4-BE49-F238E27FC236}">
                  <a16:creationId xmlns:a16="http://schemas.microsoft.com/office/drawing/2014/main" id="{E771BFC5-13DE-4995-0D36-16F83C6FE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8538" y="4522788"/>
              <a:ext cx="274637" cy="271463"/>
            </a:xfrm>
            <a:custGeom>
              <a:avLst/>
              <a:gdLst>
                <a:gd name="T0" fmla="*/ 49 w 87"/>
                <a:gd name="T1" fmla="*/ 0 h 86"/>
                <a:gd name="T2" fmla="*/ 12 w 87"/>
                <a:gd name="T3" fmla="*/ 37 h 86"/>
                <a:gd name="T4" fmla="*/ 21 w 87"/>
                <a:gd name="T5" fmla="*/ 62 h 86"/>
                <a:gd name="T6" fmla="*/ 1 w 87"/>
                <a:gd name="T7" fmla="*/ 81 h 86"/>
                <a:gd name="T8" fmla="*/ 0 w 87"/>
                <a:gd name="T9" fmla="*/ 83 h 86"/>
                <a:gd name="T10" fmla="*/ 3 w 87"/>
                <a:gd name="T11" fmla="*/ 86 h 86"/>
                <a:gd name="T12" fmla="*/ 5 w 87"/>
                <a:gd name="T13" fmla="*/ 85 h 86"/>
                <a:gd name="T14" fmla="*/ 25 w 87"/>
                <a:gd name="T15" fmla="*/ 66 h 86"/>
                <a:gd name="T16" fmla="*/ 49 w 87"/>
                <a:gd name="T17" fmla="*/ 75 h 86"/>
                <a:gd name="T18" fmla="*/ 87 w 87"/>
                <a:gd name="T19" fmla="*/ 37 h 86"/>
                <a:gd name="T20" fmla="*/ 49 w 87"/>
                <a:gd name="T21" fmla="*/ 0 h 86"/>
                <a:gd name="T22" fmla="*/ 81 w 87"/>
                <a:gd name="T23" fmla="*/ 37 h 86"/>
                <a:gd name="T24" fmla="*/ 49 w 87"/>
                <a:gd name="T25" fmla="*/ 69 h 86"/>
                <a:gd name="T26" fmla="*/ 18 w 87"/>
                <a:gd name="T27" fmla="*/ 37 h 86"/>
                <a:gd name="T28" fmla="*/ 49 w 87"/>
                <a:gd name="T29" fmla="*/ 6 h 86"/>
                <a:gd name="T30" fmla="*/ 81 w 87"/>
                <a:gd name="T31" fmla="*/ 3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7" h="86">
                  <a:moveTo>
                    <a:pt x="49" y="0"/>
                  </a:moveTo>
                  <a:cubicBezTo>
                    <a:pt x="28" y="0"/>
                    <a:pt x="12" y="16"/>
                    <a:pt x="12" y="37"/>
                  </a:cubicBezTo>
                  <a:cubicBezTo>
                    <a:pt x="12" y="46"/>
                    <a:pt x="15" y="55"/>
                    <a:pt x="21" y="62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0" y="82"/>
                    <a:pt x="0" y="82"/>
                    <a:pt x="0" y="83"/>
                  </a:cubicBezTo>
                  <a:cubicBezTo>
                    <a:pt x="0" y="85"/>
                    <a:pt x="1" y="86"/>
                    <a:pt x="3" y="86"/>
                  </a:cubicBezTo>
                  <a:cubicBezTo>
                    <a:pt x="4" y="86"/>
                    <a:pt x="5" y="86"/>
                    <a:pt x="5" y="85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32" y="72"/>
                    <a:pt x="40" y="75"/>
                    <a:pt x="49" y="75"/>
                  </a:cubicBezTo>
                  <a:cubicBezTo>
                    <a:pt x="70" y="75"/>
                    <a:pt x="87" y="58"/>
                    <a:pt x="87" y="37"/>
                  </a:cubicBezTo>
                  <a:cubicBezTo>
                    <a:pt x="87" y="16"/>
                    <a:pt x="70" y="0"/>
                    <a:pt x="49" y="0"/>
                  </a:cubicBezTo>
                  <a:close/>
                  <a:moveTo>
                    <a:pt x="81" y="37"/>
                  </a:moveTo>
                  <a:cubicBezTo>
                    <a:pt x="81" y="55"/>
                    <a:pt x="67" y="69"/>
                    <a:pt x="49" y="69"/>
                  </a:cubicBezTo>
                  <a:cubicBezTo>
                    <a:pt x="32" y="69"/>
                    <a:pt x="18" y="55"/>
                    <a:pt x="18" y="37"/>
                  </a:cubicBezTo>
                  <a:cubicBezTo>
                    <a:pt x="18" y="20"/>
                    <a:pt x="32" y="6"/>
                    <a:pt x="49" y="6"/>
                  </a:cubicBezTo>
                  <a:cubicBezTo>
                    <a:pt x="67" y="6"/>
                    <a:pt x="81" y="20"/>
                    <a:pt x="81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39" name="Freeform 54">
            <a:extLst>
              <a:ext uri="{FF2B5EF4-FFF2-40B4-BE49-F238E27FC236}">
                <a16:creationId xmlns:a16="http://schemas.microsoft.com/office/drawing/2014/main" id="{E3EA4362-CE99-AAD4-86FC-C21CECB969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193605" y="3031291"/>
            <a:ext cx="162267" cy="166118"/>
          </a:xfrm>
          <a:custGeom>
            <a:avLst/>
            <a:gdLst>
              <a:gd name="T0" fmla="*/ 0 w 171"/>
              <a:gd name="T1" fmla="*/ 85 h 171"/>
              <a:gd name="T2" fmla="*/ 33 w 171"/>
              <a:gd name="T3" fmla="*/ 153 h 171"/>
              <a:gd name="T4" fmla="*/ 43 w 171"/>
              <a:gd name="T5" fmla="*/ 159 h 171"/>
              <a:gd name="T6" fmla="*/ 128 w 171"/>
              <a:gd name="T7" fmla="*/ 159 h 171"/>
              <a:gd name="T8" fmla="*/ 138 w 171"/>
              <a:gd name="T9" fmla="*/ 153 h 171"/>
              <a:gd name="T10" fmla="*/ 171 w 171"/>
              <a:gd name="T11" fmla="*/ 85 h 171"/>
              <a:gd name="T12" fmla="*/ 54 w 171"/>
              <a:gd name="T13" fmla="*/ 133 h 171"/>
              <a:gd name="T14" fmla="*/ 66 w 171"/>
              <a:gd name="T15" fmla="*/ 104 h 171"/>
              <a:gd name="T16" fmla="*/ 60 w 171"/>
              <a:gd name="T17" fmla="*/ 88 h 171"/>
              <a:gd name="T18" fmla="*/ 50 w 171"/>
              <a:gd name="T19" fmla="*/ 76 h 171"/>
              <a:gd name="T20" fmla="*/ 51 w 171"/>
              <a:gd name="T21" fmla="*/ 68 h 171"/>
              <a:gd name="T22" fmla="*/ 54 w 171"/>
              <a:gd name="T23" fmla="*/ 63 h 171"/>
              <a:gd name="T24" fmla="*/ 85 w 171"/>
              <a:gd name="T25" fmla="*/ 25 h 171"/>
              <a:gd name="T26" fmla="*/ 115 w 171"/>
              <a:gd name="T27" fmla="*/ 63 h 171"/>
              <a:gd name="T28" fmla="*/ 118 w 171"/>
              <a:gd name="T29" fmla="*/ 68 h 171"/>
              <a:gd name="T30" fmla="*/ 119 w 171"/>
              <a:gd name="T31" fmla="*/ 76 h 171"/>
              <a:gd name="T32" fmla="*/ 110 w 171"/>
              <a:gd name="T33" fmla="*/ 88 h 171"/>
              <a:gd name="T34" fmla="*/ 103 w 171"/>
              <a:gd name="T35" fmla="*/ 104 h 171"/>
              <a:gd name="T36" fmla="*/ 114 w 171"/>
              <a:gd name="T37" fmla="*/ 132 h 171"/>
              <a:gd name="T38" fmla="*/ 124 w 171"/>
              <a:gd name="T39" fmla="*/ 153 h 171"/>
              <a:gd name="T40" fmla="*/ 85 w 171"/>
              <a:gd name="T41" fmla="*/ 163 h 171"/>
              <a:gd name="T42" fmla="*/ 47 w 171"/>
              <a:gd name="T43" fmla="*/ 153 h 171"/>
              <a:gd name="T44" fmla="*/ 54 w 171"/>
              <a:gd name="T45" fmla="*/ 133 h 171"/>
              <a:gd name="T46" fmla="*/ 110 w 171"/>
              <a:gd name="T47" fmla="*/ 106 h 171"/>
              <a:gd name="T48" fmla="*/ 126 w 171"/>
              <a:gd name="T49" fmla="*/ 77 h 171"/>
              <a:gd name="T50" fmla="*/ 122 w 171"/>
              <a:gd name="T51" fmla="*/ 62 h 171"/>
              <a:gd name="T52" fmla="*/ 85 w 171"/>
              <a:gd name="T53" fmla="*/ 19 h 171"/>
              <a:gd name="T54" fmla="*/ 47 w 171"/>
              <a:gd name="T55" fmla="*/ 62 h 171"/>
              <a:gd name="T56" fmla="*/ 44 w 171"/>
              <a:gd name="T57" fmla="*/ 77 h 171"/>
              <a:gd name="T58" fmla="*/ 60 w 171"/>
              <a:gd name="T59" fmla="*/ 106 h 171"/>
              <a:gd name="T60" fmla="*/ 51 w 171"/>
              <a:gd name="T61" fmla="*/ 127 h 171"/>
              <a:gd name="T62" fmla="*/ 7 w 171"/>
              <a:gd name="T63" fmla="*/ 85 h 171"/>
              <a:gd name="T64" fmla="*/ 163 w 171"/>
              <a:gd name="T65" fmla="*/ 85 h 171"/>
              <a:gd name="T66" fmla="*/ 117 w 171"/>
              <a:gd name="T67" fmla="*/ 126 h 171"/>
              <a:gd name="T68" fmla="*/ 109 w 171"/>
              <a:gd name="T69" fmla="*/ 122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71" h="171">
                <a:moveTo>
                  <a:pt x="85" y="0"/>
                </a:moveTo>
                <a:cubicBezTo>
                  <a:pt x="38" y="0"/>
                  <a:pt x="0" y="38"/>
                  <a:pt x="0" y="85"/>
                </a:cubicBezTo>
                <a:cubicBezTo>
                  <a:pt x="0" y="109"/>
                  <a:pt x="10" y="132"/>
                  <a:pt x="27" y="148"/>
                </a:cubicBezTo>
                <a:cubicBezTo>
                  <a:pt x="29" y="150"/>
                  <a:pt x="31" y="151"/>
                  <a:pt x="33" y="153"/>
                </a:cubicBezTo>
                <a:cubicBezTo>
                  <a:pt x="34" y="154"/>
                  <a:pt x="34" y="154"/>
                  <a:pt x="34" y="154"/>
                </a:cubicBezTo>
                <a:cubicBezTo>
                  <a:pt x="37" y="156"/>
                  <a:pt x="39" y="158"/>
                  <a:pt x="43" y="159"/>
                </a:cubicBezTo>
                <a:cubicBezTo>
                  <a:pt x="55" y="167"/>
                  <a:pt x="70" y="171"/>
                  <a:pt x="85" y="171"/>
                </a:cubicBezTo>
                <a:cubicBezTo>
                  <a:pt x="100" y="171"/>
                  <a:pt x="115" y="167"/>
                  <a:pt x="128" y="159"/>
                </a:cubicBezTo>
                <a:cubicBezTo>
                  <a:pt x="131" y="158"/>
                  <a:pt x="134" y="156"/>
                  <a:pt x="136" y="154"/>
                </a:cubicBezTo>
                <a:cubicBezTo>
                  <a:pt x="138" y="153"/>
                  <a:pt x="138" y="153"/>
                  <a:pt x="138" y="153"/>
                </a:cubicBezTo>
                <a:cubicBezTo>
                  <a:pt x="139" y="151"/>
                  <a:pt x="141" y="150"/>
                  <a:pt x="143" y="148"/>
                </a:cubicBezTo>
                <a:cubicBezTo>
                  <a:pt x="161" y="132"/>
                  <a:pt x="171" y="109"/>
                  <a:pt x="171" y="85"/>
                </a:cubicBezTo>
                <a:cubicBezTo>
                  <a:pt x="171" y="38"/>
                  <a:pt x="132" y="0"/>
                  <a:pt x="85" y="0"/>
                </a:cubicBezTo>
                <a:close/>
                <a:moveTo>
                  <a:pt x="54" y="133"/>
                </a:moveTo>
                <a:cubicBezTo>
                  <a:pt x="59" y="131"/>
                  <a:pt x="64" y="129"/>
                  <a:pt x="66" y="124"/>
                </a:cubicBezTo>
                <a:cubicBezTo>
                  <a:pt x="69" y="118"/>
                  <a:pt x="67" y="106"/>
                  <a:pt x="66" y="104"/>
                </a:cubicBezTo>
                <a:cubicBezTo>
                  <a:pt x="66" y="104"/>
                  <a:pt x="66" y="103"/>
                  <a:pt x="66" y="103"/>
                </a:cubicBezTo>
                <a:cubicBezTo>
                  <a:pt x="63" y="99"/>
                  <a:pt x="61" y="94"/>
                  <a:pt x="60" y="88"/>
                </a:cubicBezTo>
                <a:cubicBezTo>
                  <a:pt x="59" y="87"/>
                  <a:pt x="58" y="86"/>
                  <a:pt x="56" y="86"/>
                </a:cubicBezTo>
                <a:cubicBezTo>
                  <a:pt x="55" y="86"/>
                  <a:pt x="51" y="82"/>
                  <a:pt x="50" y="76"/>
                </a:cubicBezTo>
                <a:cubicBezTo>
                  <a:pt x="49" y="70"/>
                  <a:pt x="50" y="68"/>
                  <a:pt x="51" y="68"/>
                </a:cubicBezTo>
                <a:cubicBezTo>
                  <a:pt x="51" y="68"/>
                  <a:pt x="51" y="68"/>
                  <a:pt x="51" y="68"/>
                </a:cubicBezTo>
                <a:cubicBezTo>
                  <a:pt x="52" y="68"/>
                  <a:pt x="53" y="67"/>
                  <a:pt x="54" y="66"/>
                </a:cubicBezTo>
                <a:cubicBezTo>
                  <a:pt x="54" y="66"/>
                  <a:pt x="55" y="64"/>
                  <a:pt x="54" y="63"/>
                </a:cubicBezTo>
                <a:cubicBezTo>
                  <a:pt x="51" y="55"/>
                  <a:pt x="53" y="45"/>
                  <a:pt x="58" y="38"/>
                </a:cubicBezTo>
                <a:cubicBezTo>
                  <a:pt x="64" y="30"/>
                  <a:pt x="73" y="25"/>
                  <a:pt x="85" y="25"/>
                </a:cubicBezTo>
                <a:cubicBezTo>
                  <a:pt x="96" y="25"/>
                  <a:pt x="106" y="30"/>
                  <a:pt x="111" y="38"/>
                </a:cubicBezTo>
                <a:cubicBezTo>
                  <a:pt x="117" y="45"/>
                  <a:pt x="118" y="55"/>
                  <a:pt x="115" y="63"/>
                </a:cubicBezTo>
                <a:cubicBezTo>
                  <a:pt x="115" y="64"/>
                  <a:pt x="115" y="66"/>
                  <a:pt x="116" y="66"/>
                </a:cubicBezTo>
                <a:cubicBezTo>
                  <a:pt x="116" y="67"/>
                  <a:pt x="117" y="68"/>
                  <a:pt x="118" y="68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8"/>
                  <a:pt x="120" y="70"/>
                  <a:pt x="119" y="76"/>
                </a:cubicBezTo>
                <a:cubicBezTo>
                  <a:pt x="118" y="82"/>
                  <a:pt x="115" y="86"/>
                  <a:pt x="113" y="86"/>
                </a:cubicBezTo>
                <a:cubicBezTo>
                  <a:pt x="112" y="86"/>
                  <a:pt x="110" y="87"/>
                  <a:pt x="110" y="88"/>
                </a:cubicBezTo>
                <a:cubicBezTo>
                  <a:pt x="108" y="94"/>
                  <a:pt x="106" y="99"/>
                  <a:pt x="103" y="103"/>
                </a:cubicBezTo>
                <a:cubicBezTo>
                  <a:pt x="103" y="103"/>
                  <a:pt x="103" y="104"/>
                  <a:pt x="103" y="104"/>
                </a:cubicBezTo>
                <a:cubicBezTo>
                  <a:pt x="103" y="106"/>
                  <a:pt x="101" y="118"/>
                  <a:pt x="103" y="124"/>
                </a:cubicBezTo>
                <a:cubicBezTo>
                  <a:pt x="105" y="128"/>
                  <a:pt x="109" y="130"/>
                  <a:pt x="114" y="132"/>
                </a:cubicBezTo>
                <a:cubicBezTo>
                  <a:pt x="124" y="135"/>
                  <a:pt x="131" y="140"/>
                  <a:pt x="134" y="146"/>
                </a:cubicBezTo>
                <a:cubicBezTo>
                  <a:pt x="131" y="148"/>
                  <a:pt x="127" y="151"/>
                  <a:pt x="124" y="153"/>
                </a:cubicBezTo>
                <a:cubicBezTo>
                  <a:pt x="120" y="155"/>
                  <a:pt x="116" y="157"/>
                  <a:pt x="112" y="158"/>
                </a:cubicBezTo>
                <a:cubicBezTo>
                  <a:pt x="103" y="162"/>
                  <a:pt x="94" y="163"/>
                  <a:pt x="85" y="163"/>
                </a:cubicBezTo>
                <a:cubicBezTo>
                  <a:pt x="76" y="163"/>
                  <a:pt x="67" y="162"/>
                  <a:pt x="58" y="158"/>
                </a:cubicBezTo>
                <a:cubicBezTo>
                  <a:pt x="54" y="157"/>
                  <a:pt x="50" y="155"/>
                  <a:pt x="47" y="153"/>
                </a:cubicBezTo>
                <a:cubicBezTo>
                  <a:pt x="43" y="151"/>
                  <a:pt x="39" y="148"/>
                  <a:pt x="36" y="146"/>
                </a:cubicBezTo>
                <a:cubicBezTo>
                  <a:pt x="39" y="141"/>
                  <a:pt x="45" y="137"/>
                  <a:pt x="54" y="133"/>
                </a:cubicBezTo>
                <a:close/>
                <a:moveTo>
                  <a:pt x="109" y="122"/>
                </a:moveTo>
                <a:cubicBezTo>
                  <a:pt x="108" y="117"/>
                  <a:pt x="109" y="107"/>
                  <a:pt x="110" y="106"/>
                </a:cubicBezTo>
                <a:cubicBezTo>
                  <a:pt x="112" y="102"/>
                  <a:pt x="114" y="97"/>
                  <a:pt x="116" y="92"/>
                </a:cubicBezTo>
                <a:cubicBezTo>
                  <a:pt x="121" y="90"/>
                  <a:pt x="125" y="83"/>
                  <a:pt x="126" y="77"/>
                </a:cubicBezTo>
                <a:cubicBezTo>
                  <a:pt x="127" y="70"/>
                  <a:pt x="126" y="66"/>
                  <a:pt x="124" y="64"/>
                </a:cubicBezTo>
                <a:cubicBezTo>
                  <a:pt x="123" y="63"/>
                  <a:pt x="123" y="63"/>
                  <a:pt x="122" y="62"/>
                </a:cubicBezTo>
                <a:cubicBezTo>
                  <a:pt x="125" y="52"/>
                  <a:pt x="123" y="42"/>
                  <a:pt x="117" y="34"/>
                </a:cubicBezTo>
                <a:cubicBezTo>
                  <a:pt x="110" y="24"/>
                  <a:pt x="98" y="19"/>
                  <a:pt x="85" y="19"/>
                </a:cubicBezTo>
                <a:cubicBezTo>
                  <a:pt x="71" y="19"/>
                  <a:pt x="59" y="24"/>
                  <a:pt x="52" y="34"/>
                </a:cubicBezTo>
                <a:cubicBezTo>
                  <a:pt x="47" y="42"/>
                  <a:pt x="45" y="52"/>
                  <a:pt x="47" y="62"/>
                </a:cubicBezTo>
                <a:cubicBezTo>
                  <a:pt x="46" y="63"/>
                  <a:pt x="46" y="63"/>
                  <a:pt x="45" y="64"/>
                </a:cubicBezTo>
                <a:cubicBezTo>
                  <a:pt x="43" y="66"/>
                  <a:pt x="43" y="70"/>
                  <a:pt x="44" y="77"/>
                </a:cubicBezTo>
                <a:cubicBezTo>
                  <a:pt x="45" y="83"/>
                  <a:pt x="48" y="90"/>
                  <a:pt x="54" y="92"/>
                </a:cubicBezTo>
                <a:cubicBezTo>
                  <a:pt x="55" y="97"/>
                  <a:pt x="58" y="102"/>
                  <a:pt x="60" y="106"/>
                </a:cubicBezTo>
                <a:cubicBezTo>
                  <a:pt x="61" y="110"/>
                  <a:pt x="61" y="118"/>
                  <a:pt x="60" y="122"/>
                </a:cubicBezTo>
                <a:cubicBezTo>
                  <a:pt x="59" y="124"/>
                  <a:pt x="55" y="125"/>
                  <a:pt x="51" y="127"/>
                </a:cubicBezTo>
                <a:cubicBezTo>
                  <a:pt x="41" y="130"/>
                  <a:pt x="35" y="135"/>
                  <a:pt x="31" y="141"/>
                </a:cubicBezTo>
                <a:cubicBezTo>
                  <a:pt x="15" y="126"/>
                  <a:pt x="7" y="106"/>
                  <a:pt x="7" y="85"/>
                </a:cubicBezTo>
                <a:cubicBezTo>
                  <a:pt x="7" y="42"/>
                  <a:pt x="42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06"/>
                  <a:pt x="155" y="126"/>
                  <a:pt x="140" y="141"/>
                </a:cubicBezTo>
                <a:cubicBezTo>
                  <a:pt x="134" y="133"/>
                  <a:pt x="123" y="129"/>
                  <a:pt x="117" y="126"/>
                </a:cubicBezTo>
                <a:cubicBezTo>
                  <a:pt x="117" y="126"/>
                  <a:pt x="117" y="126"/>
                  <a:pt x="117" y="126"/>
                </a:cubicBezTo>
                <a:cubicBezTo>
                  <a:pt x="113" y="125"/>
                  <a:pt x="110" y="123"/>
                  <a:pt x="109" y="12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EFD40064-0A73-0A9F-88DB-DD39FF7FAEC1}"/>
              </a:ext>
            </a:extLst>
          </p:cNvPr>
          <p:cNvSpPr/>
          <p:nvPr/>
        </p:nvSpPr>
        <p:spPr>
          <a:xfrm>
            <a:off x="9456341" y="1989282"/>
            <a:ext cx="807010" cy="135504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Planning admin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CA2D851-73DC-B296-BD7B-9D1A297D706E}"/>
              </a:ext>
            </a:extLst>
          </p:cNvPr>
          <p:cNvSpPr/>
          <p:nvPr/>
        </p:nvSpPr>
        <p:spPr>
          <a:xfrm>
            <a:off x="9456341" y="2258524"/>
            <a:ext cx="719644" cy="135504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Duty officer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59C18987-8009-1A25-36C8-1E926E7E9310}"/>
              </a:ext>
            </a:extLst>
          </p:cNvPr>
          <p:cNvSpPr/>
          <p:nvPr/>
        </p:nvSpPr>
        <p:spPr>
          <a:xfrm>
            <a:off x="9456340" y="2516982"/>
            <a:ext cx="861443" cy="144707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Coordinator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2E129C79-6BD0-5CED-B3C5-95E54A8A5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191245" y="2760044"/>
            <a:ext cx="166880" cy="165875"/>
            <a:chOff x="8374063" y="4395788"/>
            <a:chExt cx="546100" cy="530226"/>
          </a:xfrm>
          <a:solidFill>
            <a:schemeClr val="accent6"/>
          </a:solidFill>
        </p:grpSpPr>
        <p:sp>
          <p:nvSpPr>
            <p:cNvPr id="146" name="Freeform 17">
              <a:extLst>
                <a:ext uri="{FF2B5EF4-FFF2-40B4-BE49-F238E27FC236}">
                  <a16:creationId xmlns:a16="http://schemas.microsoft.com/office/drawing/2014/main" id="{AA4E6557-2F69-C259-1429-83D457E98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4395788"/>
              <a:ext cx="333375" cy="466725"/>
            </a:xfrm>
            <a:custGeom>
              <a:avLst/>
              <a:gdLst>
                <a:gd name="T0" fmla="*/ 7 w 106"/>
                <a:gd name="T1" fmla="*/ 141 h 148"/>
                <a:gd name="T2" fmla="*/ 7 w 106"/>
                <a:gd name="T3" fmla="*/ 141 h 148"/>
                <a:gd name="T4" fmla="*/ 31 w 106"/>
                <a:gd name="T5" fmla="*/ 119 h 148"/>
                <a:gd name="T6" fmla="*/ 31 w 106"/>
                <a:gd name="T7" fmla="*/ 119 h 148"/>
                <a:gd name="T8" fmla="*/ 43 w 106"/>
                <a:gd name="T9" fmla="*/ 111 h 148"/>
                <a:gd name="T10" fmla="*/ 43 w 106"/>
                <a:gd name="T11" fmla="*/ 89 h 148"/>
                <a:gd name="T12" fmla="*/ 42 w 106"/>
                <a:gd name="T13" fmla="*/ 88 h 148"/>
                <a:gd name="T14" fmla="*/ 36 w 106"/>
                <a:gd name="T15" fmla="*/ 73 h 148"/>
                <a:gd name="T16" fmla="*/ 32 w 106"/>
                <a:gd name="T17" fmla="*/ 70 h 148"/>
                <a:gd name="T18" fmla="*/ 26 w 106"/>
                <a:gd name="T19" fmla="*/ 60 h 148"/>
                <a:gd name="T20" fmla="*/ 26 w 106"/>
                <a:gd name="T21" fmla="*/ 51 h 148"/>
                <a:gd name="T22" fmla="*/ 27 w 106"/>
                <a:gd name="T23" fmla="*/ 51 h 148"/>
                <a:gd name="T24" fmla="*/ 30 w 106"/>
                <a:gd name="T25" fmla="*/ 50 h 148"/>
                <a:gd name="T26" fmla="*/ 30 w 106"/>
                <a:gd name="T27" fmla="*/ 47 h 148"/>
                <a:gd name="T28" fmla="*/ 34 w 106"/>
                <a:gd name="T29" fmla="*/ 20 h 148"/>
                <a:gd name="T30" fmla="*/ 62 w 106"/>
                <a:gd name="T31" fmla="*/ 6 h 148"/>
                <a:gd name="T32" fmla="*/ 91 w 106"/>
                <a:gd name="T33" fmla="*/ 20 h 148"/>
                <a:gd name="T34" fmla="*/ 95 w 106"/>
                <a:gd name="T35" fmla="*/ 47 h 148"/>
                <a:gd name="T36" fmla="*/ 95 w 106"/>
                <a:gd name="T37" fmla="*/ 50 h 148"/>
                <a:gd name="T38" fmla="*/ 98 w 106"/>
                <a:gd name="T39" fmla="*/ 51 h 148"/>
                <a:gd name="T40" fmla="*/ 99 w 106"/>
                <a:gd name="T41" fmla="*/ 51 h 148"/>
                <a:gd name="T42" fmla="*/ 99 w 106"/>
                <a:gd name="T43" fmla="*/ 60 h 148"/>
                <a:gd name="T44" fmla="*/ 92 w 106"/>
                <a:gd name="T45" fmla="*/ 70 h 148"/>
                <a:gd name="T46" fmla="*/ 89 w 106"/>
                <a:gd name="T47" fmla="*/ 73 h 148"/>
                <a:gd name="T48" fmla="*/ 82 w 106"/>
                <a:gd name="T49" fmla="*/ 88 h 148"/>
                <a:gd name="T50" fmla="*/ 82 w 106"/>
                <a:gd name="T51" fmla="*/ 89 h 148"/>
                <a:gd name="T52" fmla="*/ 82 w 106"/>
                <a:gd name="T53" fmla="*/ 111 h 148"/>
                <a:gd name="T54" fmla="*/ 83 w 106"/>
                <a:gd name="T55" fmla="*/ 113 h 148"/>
                <a:gd name="T56" fmla="*/ 88 w 106"/>
                <a:gd name="T57" fmla="*/ 107 h 148"/>
                <a:gd name="T58" fmla="*/ 88 w 106"/>
                <a:gd name="T59" fmla="*/ 91 h 148"/>
                <a:gd name="T60" fmla="*/ 88 w 106"/>
                <a:gd name="T61" fmla="*/ 91 h 148"/>
                <a:gd name="T62" fmla="*/ 95 w 106"/>
                <a:gd name="T63" fmla="*/ 77 h 148"/>
                <a:gd name="T64" fmla="*/ 95 w 106"/>
                <a:gd name="T65" fmla="*/ 77 h 148"/>
                <a:gd name="T66" fmla="*/ 105 w 106"/>
                <a:gd name="T67" fmla="*/ 61 h 148"/>
                <a:gd name="T68" fmla="*/ 104 w 106"/>
                <a:gd name="T69" fmla="*/ 47 h 148"/>
                <a:gd name="T70" fmla="*/ 102 w 106"/>
                <a:gd name="T71" fmla="*/ 46 h 148"/>
                <a:gd name="T72" fmla="*/ 102 w 106"/>
                <a:gd name="T73" fmla="*/ 46 h 148"/>
                <a:gd name="T74" fmla="*/ 102 w 106"/>
                <a:gd name="T75" fmla="*/ 45 h 148"/>
                <a:gd name="T76" fmla="*/ 96 w 106"/>
                <a:gd name="T77" fmla="*/ 16 h 148"/>
                <a:gd name="T78" fmla="*/ 62 w 106"/>
                <a:gd name="T79" fmla="*/ 0 h 148"/>
                <a:gd name="T80" fmla="*/ 29 w 106"/>
                <a:gd name="T81" fmla="*/ 16 h 148"/>
                <a:gd name="T82" fmla="*/ 23 w 106"/>
                <a:gd name="T83" fmla="*/ 45 h 148"/>
                <a:gd name="T84" fmla="*/ 23 w 106"/>
                <a:gd name="T85" fmla="*/ 46 h 148"/>
                <a:gd name="T86" fmla="*/ 23 w 106"/>
                <a:gd name="T87" fmla="*/ 46 h 148"/>
                <a:gd name="T88" fmla="*/ 21 w 106"/>
                <a:gd name="T89" fmla="*/ 47 h 148"/>
                <a:gd name="T90" fmla="*/ 19 w 106"/>
                <a:gd name="T91" fmla="*/ 61 h 148"/>
                <a:gd name="T92" fmla="*/ 30 w 106"/>
                <a:gd name="T93" fmla="*/ 77 h 148"/>
                <a:gd name="T94" fmla="*/ 30 w 106"/>
                <a:gd name="T95" fmla="*/ 77 h 148"/>
                <a:gd name="T96" fmla="*/ 36 w 106"/>
                <a:gd name="T97" fmla="*/ 91 h 148"/>
                <a:gd name="T98" fmla="*/ 36 w 106"/>
                <a:gd name="T99" fmla="*/ 91 h 148"/>
                <a:gd name="T100" fmla="*/ 37 w 106"/>
                <a:gd name="T101" fmla="*/ 108 h 148"/>
                <a:gd name="T102" fmla="*/ 29 w 106"/>
                <a:gd name="T103" fmla="*/ 113 h 148"/>
                <a:gd name="T104" fmla="*/ 28 w 106"/>
                <a:gd name="T105" fmla="*/ 113 h 148"/>
                <a:gd name="T106" fmla="*/ 0 w 106"/>
                <a:gd name="T107" fmla="*/ 144 h 148"/>
                <a:gd name="T108" fmla="*/ 4 w 106"/>
                <a:gd name="T109" fmla="*/ 148 h 148"/>
                <a:gd name="T110" fmla="*/ 90 w 106"/>
                <a:gd name="T111" fmla="*/ 148 h 148"/>
                <a:gd name="T112" fmla="*/ 85 w 106"/>
                <a:gd name="T113" fmla="*/ 141 h 148"/>
                <a:gd name="T114" fmla="*/ 7 w 106"/>
                <a:gd name="T115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" h="148">
                  <a:moveTo>
                    <a:pt x="7" y="141"/>
                  </a:moveTo>
                  <a:cubicBezTo>
                    <a:pt x="7" y="141"/>
                    <a:pt x="7" y="141"/>
                    <a:pt x="7" y="141"/>
                  </a:cubicBezTo>
                  <a:cubicBezTo>
                    <a:pt x="9" y="131"/>
                    <a:pt x="17" y="123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7" y="117"/>
                    <a:pt x="41" y="115"/>
                    <a:pt x="43" y="111"/>
                  </a:cubicBezTo>
                  <a:cubicBezTo>
                    <a:pt x="45" y="104"/>
                    <a:pt x="43" y="92"/>
                    <a:pt x="43" y="89"/>
                  </a:cubicBezTo>
                  <a:cubicBezTo>
                    <a:pt x="43" y="89"/>
                    <a:pt x="43" y="89"/>
                    <a:pt x="42" y="88"/>
                  </a:cubicBezTo>
                  <a:cubicBezTo>
                    <a:pt x="40" y="84"/>
                    <a:pt x="37" y="79"/>
                    <a:pt x="36" y="73"/>
                  </a:cubicBezTo>
                  <a:cubicBezTo>
                    <a:pt x="35" y="71"/>
                    <a:pt x="34" y="70"/>
                    <a:pt x="32" y="70"/>
                  </a:cubicBezTo>
                  <a:cubicBezTo>
                    <a:pt x="30" y="70"/>
                    <a:pt x="27" y="66"/>
                    <a:pt x="26" y="60"/>
                  </a:cubicBezTo>
                  <a:cubicBezTo>
                    <a:pt x="25" y="53"/>
                    <a:pt x="26" y="52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28" y="51"/>
                    <a:pt x="29" y="51"/>
                    <a:pt x="30" y="50"/>
                  </a:cubicBezTo>
                  <a:cubicBezTo>
                    <a:pt x="30" y="49"/>
                    <a:pt x="30" y="48"/>
                    <a:pt x="30" y="47"/>
                  </a:cubicBezTo>
                  <a:cubicBezTo>
                    <a:pt x="27" y="37"/>
                    <a:pt x="28" y="27"/>
                    <a:pt x="34" y="20"/>
                  </a:cubicBezTo>
                  <a:cubicBezTo>
                    <a:pt x="40" y="11"/>
                    <a:pt x="50" y="6"/>
                    <a:pt x="62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6" y="27"/>
                    <a:pt x="98" y="37"/>
                    <a:pt x="95" y="47"/>
                  </a:cubicBezTo>
                  <a:cubicBezTo>
                    <a:pt x="94" y="48"/>
                    <a:pt x="95" y="49"/>
                    <a:pt x="95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8" y="51"/>
                    <a:pt x="98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4" y="70"/>
                    <a:pt x="92" y="70"/>
                  </a:cubicBezTo>
                  <a:cubicBezTo>
                    <a:pt x="91" y="70"/>
                    <a:pt x="90" y="71"/>
                    <a:pt x="89" y="73"/>
                  </a:cubicBezTo>
                  <a:cubicBezTo>
                    <a:pt x="87" y="79"/>
                    <a:pt x="85" y="84"/>
                    <a:pt x="82" y="88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1" y="92"/>
                    <a:pt x="79" y="104"/>
                    <a:pt x="82" y="111"/>
                  </a:cubicBezTo>
                  <a:cubicBezTo>
                    <a:pt x="82" y="112"/>
                    <a:pt x="83" y="113"/>
                    <a:pt x="83" y="113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3"/>
                    <a:pt x="88" y="95"/>
                    <a:pt x="88" y="91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91" y="87"/>
                    <a:pt x="93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4" y="67"/>
                    <a:pt x="105" y="61"/>
                  </a:cubicBezTo>
                  <a:cubicBezTo>
                    <a:pt x="106" y="54"/>
                    <a:pt x="106" y="50"/>
                    <a:pt x="104" y="47"/>
                  </a:cubicBezTo>
                  <a:cubicBezTo>
                    <a:pt x="103" y="46"/>
                    <a:pt x="103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4" y="35"/>
                    <a:pt x="102" y="24"/>
                    <a:pt x="96" y="16"/>
                  </a:cubicBezTo>
                  <a:cubicBezTo>
                    <a:pt x="89" y="5"/>
                    <a:pt x="77" y="0"/>
                    <a:pt x="62" y="0"/>
                  </a:cubicBezTo>
                  <a:cubicBezTo>
                    <a:pt x="48" y="0"/>
                    <a:pt x="36" y="5"/>
                    <a:pt x="29" y="16"/>
                  </a:cubicBezTo>
                  <a:cubicBezTo>
                    <a:pt x="23" y="24"/>
                    <a:pt x="20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2" y="46"/>
                    <a:pt x="22" y="46"/>
                    <a:pt x="21" y="47"/>
                  </a:cubicBezTo>
                  <a:cubicBezTo>
                    <a:pt x="19" y="50"/>
                    <a:pt x="18" y="54"/>
                    <a:pt x="19" y="61"/>
                  </a:cubicBezTo>
                  <a:cubicBezTo>
                    <a:pt x="20" y="67"/>
                    <a:pt x="24" y="75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2" y="82"/>
                    <a:pt x="34" y="87"/>
                    <a:pt x="36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7" y="92"/>
                    <a:pt x="38" y="104"/>
                    <a:pt x="37" y="108"/>
                  </a:cubicBezTo>
                  <a:cubicBezTo>
                    <a:pt x="36" y="110"/>
                    <a:pt x="32" y="111"/>
                    <a:pt x="29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8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7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BDC040CD-99CA-0765-D857-79696C892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59326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502FFF29-D8E3-1088-6B4C-A03DA7ACB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89488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4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0D316C36-49B5-5EC9-8AEC-1D9360FD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824413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0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0" name="Freeform 21">
              <a:extLst>
                <a:ext uri="{FF2B5EF4-FFF2-40B4-BE49-F238E27FC236}">
                  <a16:creationId xmlns:a16="http://schemas.microsoft.com/office/drawing/2014/main" id="{AB4B2E57-3CBF-FE90-D280-7068CE8CFF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525" y="4679951"/>
              <a:ext cx="274638" cy="246063"/>
            </a:xfrm>
            <a:custGeom>
              <a:avLst/>
              <a:gdLst>
                <a:gd name="T0" fmla="*/ 44 w 87"/>
                <a:gd name="T1" fmla="*/ 0 h 78"/>
                <a:gd name="T2" fmla="*/ 0 w 87"/>
                <a:gd name="T3" fmla="*/ 35 h 78"/>
                <a:gd name="T4" fmla="*/ 12 w 87"/>
                <a:gd name="T5" fmla="*/ 60 h 78"/>
                <a:gd name="T6" fmla="*/ 7 w 87"/>
                <a:gd name="T7" fmla="*/ 78 h 78"/>
                <a:gd name="T8" fmla="*/ 32 w 87"/>
                <a:gd name="T9" fmla="*/ 69 h 78"/>
                <a:gd name="T10" fmla="*/ 32 w 87"/>
                <a:gd name="T11" fmla="*/ 69 h 78"/>
                <a:gd name="T12" fmla="*/ 44 w 87"/>
                <a:gd name="T13" fmla="*/ 71 h 78"/>
                <a:gd name="T14" fmla="*/ 87 w 87"/>
                <a:gd name="T15" fmla="*/ 35 h 78"/>
                <a:gd name="T16" fmla="*/ 44 w 87"/>
                <a:gd name="T17" fmla="*/ 0 h 78"/>
                <a:gd name="T18" fmla="*/ 44 w 87"/>
                <a:gd name="T19" fmla="*/ 65 h 78"/>
                <a:gd name="T20" fmla="*/ 32 w 87"/>
                <a:gd name="T21" fmla="*/ 64 h 78"/>
                <a:gd name="T22" fmla="*/ 30 w 87"/>
                <a:gd name="T23" fmla="*/ 65 h 78"/>
                <a:gd name="T24" fmla="*/ 15 w 87"/>
                <a:gd name="T25" fmla="*/ 70 h 78"/>
                <a:gd name="T26" fmla="*/ 17 w 87"/>
                <a:gd name="T27" fmla="*/ 61 h 78"/>
                <a:gd name="T28" fmla="*/ 15 w 87"/>
                <a:gd name="T29" fmla="*/ 56 h 78"/>
                <a:gd name="T30" fmla="*/ 5 w 87"/>
                <a:gd name="T31" fmla="*/ 35 h 78"/>
                <a:gd name="T32" fmla="*/ 44 w 87"/>
                <a:gd name="T33" fmla="*/ 5 h 78"/>
                <a:gd name="T34" fmla="*/ 82 w 87"/>
                <a:gd name="T35" fmla="*/ 35 h 78"/>
                <a:gd name="T36" fmla="*/ 44 w 87"/>
                <a:gd name="T37" fmla="*/ 6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78">
                  <a:moveTo>
                    <a:pt x="44" y="0"/>
                  </a:moveTo>
                  <a:cubicBezTo>
                    <a:pt x="20" y="0"/>
                    <a:pt x="0" y="16"/>
                    <a:pt x="0" y="35"/>
                  </a:cubicBezTo>
                  <a:cubicBezTo>
                    <a:pt x="0" y="45"/>
                    <a:pt x="4" y="53"/>
                    <a:pt x="12" y="60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5" y="70"/>
                    <a:pt x="39" y="71"/>
                    <a:pt x="44" y="71"/>
                  </a:cubicBezTo>
                  <a:cubicBezTo>
                    <a:pt x="68" y="71"/>
                    <a:pt x="87" y="55"/>
                    <a:pt x="87" y="35"/>
                  </a:cubicBezTo>
                  <a:cubicBezTo>
                    <a:pt x="87" y="16"/>
                    <a:pt x="68" y="0"/>
                    <a:pt x="44" y="0"/>
                  </a:cubicBezTo>
                  <a:close/>
                  <a:moveTo>
                    <a:pt x="44" y="65"/>
                  </a:moveTo>
                  <a:cubicBezTo>
                    <a:pt x="40" y="65"/>
                    <a:pt x="36" y="65"/>
                    <a:pt x="32" y="64"/>
                  </a:cubicBezTo>
                  <a:cubicBezTo>
                    <a:pt x="32" y="64"/>
                    <a:pt x="31" y="64"/>
                    <a:pt x="30" y="65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59"/>
                    <a:pt x="17" y="57"/>
                    <a:pt x="15" y="56"/>
                  </a:cubicBezTo>
                  <a:cubicBezTo>
                    <a:pt x="9" y="50"/>
                    <a:pt x="5" y="43"/>
                    <a:pt x="5" y="35"/>
                  </a:cubicBezTo>
                  <a:cubicBezTo>
                    <a:pt x="5" y="18"/>
                    <a:pt x="22" y="5"/>
                    <a:pt x="44" y="5"/>
                  </a:cubicBezTo>
                  <a:cubicBezTo>
                    <a:pt x="65" y="5"/>
                    <a:pt x="82" y="18"/>
                    <a:pt x="82" y="35"/>
                  </a:cubicBezTo>
                  <a:cubicBezTo>
                    <a:pt x="82" y="52"/>
                    <a:pt x="65" y="65"/>
                    <a:pt x="4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90106D53-8CF0-7B57-C5AD-978866F0C071}"/>
              </a:ext>
            </a:extLst>
          </p:cNvPr>
          <p:cNvSpPr/>
          <p:nvPr/>
        </p:nvSpPr>
        <p:spPr>
          <a:xfrm>
            <a:off x="9456341" y="2786620"/>
            <a:ext cx="719644" cy="135504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cs typeface="Segoe UI Semibold" panose="020B0702040204020203" pitchFamily="34" charset="0"/>
              </a:rPr>
              <a:t>Planner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1E6A427B-F4D7-E3AB-2954-F9B201CDE477}"/>
              </a:ext>
            </a:extLst>
          </p:cNvPr>
          <p:cNvSpPr/>
          <p:nvPr/>
        </p:nvSpPr>
        <p:spPr>
          <a:xfrm>
            <a:off x="9456341" y="3047054"/>
            <a:ext cx="719644" cy="135504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cs typeface="Segoe UI Semibold" panose="020B0702040204020203" pitchFamily="34" charset="0"/>
              </a:rPr>
              <a:t>Applicant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7AF091A-4E9A-C0AE-25CA-CD3F5298D0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306413" y="5359697"/>
            <a:ext cx="749515" cy="1513235"/>
            <a:chOff x="7404567" y="5178589"/>
            <a:chExt cx="747613" cy="1513235"/>
          </a:xfrm>
        </p:grpSpPr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7B5BB3B5-90C4-F411-743A-87B43A3F95A8}"/>
                </a:ext>
              </a:extLst>
            </p:cNvPr>
            <p:cNvCxnSpPr>
              <a:cxnSpLocks/>
            </p:cNvCxnSpPr>
            <p:nvPr/>
          </p:nvCxnSpPr>
          <p:spPr>
            <a:xfrm>
              <a:off x="7404567" y="5693513"/>
              <a:ext cx="747613" cy="0"/>
            </a:xfrm>
            <a:prstGeom prst="line">
              <a:avLst/>
            </a:prstGeom>
            <a:ln w="193675" cap="rnd">
              <a:gradFill>
                <a:gsLst>
                  <a:gs pos="2000">
                    <a:srgbClr val="37465B">
                      <a:alpha val="0"/>
                    </a:srgbClr>
                  </a:gs>
                  <a:gs pos="70000">
                    <a:schemeClr val="accent6"/>
                  </a:gs>
                </a:gsLst>
                <a:lin ang="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327705D3-1F9B-12B5-9C99-FF248496B709}"/>
                </a:ext>
              </a:extLst>
            </p:cNvPr>
            <p:cNvCxnSpPr>
              <a:cxnSpLocks/>
            </p:cNvCxnSpPr>
            <p:nvPr/>
          </p:nvCxnSpPr>
          <p:spPr>
            <a:xfrm>
              <a:off x="7404567" y="6209421"/>
              <a:ext cx="747613" cy="0"/>
            </a:xfrm>
            <a:prstGeom prst="line">
              <a:avLst/>
            </a:prstGeom>
            <a:ln w="193675" cap="rnd">
              <a:gradFill>
                <a:gsLst>
                  <a:gs pos="2000">
                    <a:srgbClr val="37465B">
                      <a:alpha val="0"/>
                    </a:srgbClr>
                  </a:gs>
                  <a:gs pos="70000">
                    <a:schemeClr val="accent6"/>
                  </a:gs>
                </a:gsLst>
                <a:lin ang="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21848FD-7798-B30C-CE2D-34E08CDEFDC0}"/>
                </a:ext>
              </a:extLst>
            </p:cNvPr>
            <p:cNvCxnSpPr>
              <a:cxnSpLocks/>
            </p:cNvCxnSpPr>
            <p:nvPr/>
          </p:nvCxnSpPr>
          <p:spPr>
            <a:xfrm>
              <a:off x="7404567" y="6691824"/>
              <a:ext cx="747613" cy="0"/>
            </a:xfrm>
            <a:prstGeom prst="line">
              <a:avLst/>
            </a:prstGeom>
            <a:ln w="193675" cap="rnd">
              <a:gradFill>
                <a:gsLst>
                  <a:gs pos="2000">
                    <a:srgbClr val="37465B">
                      <a:alpha val="0"/>
                    </a:srgbClr>
                  </a:gs>
                  <a:gs pos="70000">
                    <a:schemeClr val="accent6"/>
                  </a:gs>
                </a:gsLst>
                <a:lin ang="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50CE698A-6E38-ED00-509C-AEB7954747FA}"/>
                </a:ext>
              </a:extLst>
            </p:cNvPr>
            <p:cNvCxnSpPr>
              <a:cxnSpLocks/>
            </p:cNvCxnSpPr>
            <p:nvPr/>
          </p:nvCxnSpPr>
          <p:spPr>
            <a:xfrm>
              <a:off x="7404567" y="5178589"/>
              <a:ext cx="747613" cy="0"/>
            </a:xfrm>
            <a:prstGeom prst="line">
              <a:avLst/>
            </a:prstGeom>
            <a:ln w="193675" cap="rnd">
              <a:gradFill>
                <a:gsLst>
                  <a:gs pos="2000">
                    <a:srgbClr val="37465B">
                      <a:alpha val="0"/>
                    </a:srgbClr>
                  </a:gs>
                  <a:gs pos="70000">
                    <a:schemeClr val="accent6"/>
                  </a:gs>
                </a:gsLst>
                <a:lin ang="0" scaled="0"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Oval 123">
            <a:extLst>
              <a:ext uri="{FF2B5EF4-FFF2-40B4-BE49-F238E27FC236}">
                <a16:creationId xmlns:a16="http://schemas.microsoft.com/office/drawing/2014/main" id="{192489DA-2772-314A-3FBA-23B869DD94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70024" y="514271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19A2340C-4891-55A3-B093-C00275267F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078855" y="5244608"/>
            <a:ext cx="212949" cy="234313"/>
            <a:chOff x="7299325" y="4395788"/>
            <a:chExt cx="490538" cy="539751"/>
          </a:xfrm>
          <a:solidFill>
            <a:srgbClr val="FFFFFF"/>
          </a:solidFill>
        </p:grpSpPr>
        <p:sp>
          <p:nvSpPr>
            <p:cNvPr id="126" name="Freeform 6">
              <a:extLst>
                <a:ext uri="{FF2B5EF4-FFF2-40B4-BE49-F238E27FC236}">
                  <a16:creationId xmlns:a16="http://schemas.microsoft.com/office/drawing/2014/main" id="{35ADC3E7-1F19-8745-F2D8-5FC03492C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4395788"/>
              <a:ext cx="338138" cy="466725"/>
            </a:xfrm>
            <a:custGeom>
              <a:avLst/>
              <a:gdLst>
                <a:gd name="T0" fmla="*/ 8 w 107"/>
                <a:gd name="T1" fmla="*/ 141 h 148"/>
                <a:gd name="T2" fmla="*/ 8 w 107"/>
                <a:gd name="T3" fmla="*/ 141 h 148"/>
                <a:gd name="T4" fmla="*/ 32 w 107"/>
                <a:gd name="T5" fmla="*/ 119 h 148"/>
                <a:gd name="T6" fmla="*/ 32 w 107"/>
                <a:gd name="T7" fmla="*/ 119 h 148"/>
                <a:gd name="T8" fmla="*/ 43 w 107"/>
                <a:gd name="T9" fmla="*/ 111 h 148"/>
                <a:gd name="T10" fmla="*/ 43 w 107"/>
                <a:gd name="T11" fmla="*/ 89 h 148"/>
                <a:gd name="T12" fmla="*/ 43 w 107"/>
                <a:gd name="T13" fmla="*/ 88 h 148"/>
                <a:gd name="T14" fmla="*/ 36 w 107"/>
                <a:gd name="T15" fmla="*/ 73 h 148"/>
                <a:gd name="T16" fmla="*/ 33 w 107"/>
                <a:gd name="T17" fmla="*/ 70 h 148"/>
                <a:gd name="T18" fmla="*/ 27 w 107"/>
                <a:gd name="T19" fmla="*/ 60 h 148"/>
                <a:gd name="T20" fmla="*/ 27 w 107"/>
                <a:gd name="T21" fmla="*/ 51 h 148"/>
                <a:gd name="T22" fmla="*/ 27 w 107"/>
                <a:gd name="T23" fmla="*/ 51 h 148"/>
                <a:gd name="T24" fmla="*/ 30 w 107"/>
                <a:gd name="T25" fmla="*/ 50 h 148"/>
                <a:gd name="T26" fmla="*/ 31 w 107"/>
                <a:gd name="T27" fmla="*/ 47 h 148"/>
                <a:gd name="T28" fmla="*/ 35 w 107"/>
                <a:gd name="T29" fmla="*/ 20 h 148"/>
                <a:gd name="T30" fmla="*/ 63 w 107"/>
                <a:gd name="T31" fmla="*/ 6 h 148"/>
                <a:gd name="T32" fmla="*/ 91 w 107"/>
                <a:gd name="T33" fmla="*/ 20 h 148"/>
                <a:gd name="T34" fmla="*/ 95 w 107"/>
                <a:gd name="T35" fmla="*/ 47 h 148"/>
                <a:gd name="T36" fmla="*/ 96 w 107"/>
                <a:gd name="T37" fmla="*/ 50 h 148"/>
                <a:gd name="T38" fmla="*/ 98 w 107"/>
                <a:gd name="T39" fmla="*/ 51 h 148"/>
                <a:gd name="T40" fmla="*/ 99 w 107"/>
                <a:gd name="T41" fmla="*/ 51 h 148"/>
                <a:gd name="T42" fmla="*/ 99 w 107"/>
                <a:gd name="T43" fmla="*/ 60 h 148"/>
                <a:gd name="T44" fmla="*/ 93 w 107"/>
                <a:gd name="T45" fmla="*/ 70 h 148"/>
                <a:gd name="T46" fmla="*/ 90 w 107"/>
                <a:gd name="T47" fmla="*/ 73 h 148"/>
                <a:gd name="T48" fmla="*/ 83 w 107"/>
                <a:gd name="T49" fmla="*/ 88 h 148"/>
                <a:gd name="T50" fmla="*/ 83 w 107"/>
                <a:gd name="T51" fmla="*/ 89 h 148"/>
                <a:gd name="T52" fmla="*/ 83 w 107"/>
                <a:gd name="T53" fmla="*/ 111 h 148"/>
                <a:gd name="T54" fmla="*/ 91 w 107"/>
                <a:gd name="T55" fmla="*/ 118 h 148"/>
                <a:gd name="T56" fmla="*/ 91 w 107"/>
                <a:gd name="T57" fmla="*/ 111 h 148"/>
                <a:gd name="T58" fmla="*/ 89 w 107"/>
                <a:gd name="T59" fmla="*/ 108 h 148"/>
                <a:gd name="T60" fmla="*/ 89 w 107"/>
                <a:gd name="T61" fmla="*/ 91 h 148"/>
                <a:gd name="T62" fmla="*/ 89 w 107"/>
                <a:gd name="T63" fmla="*/ 91 h 148"/>
                <a:gd name="T64" fmla="*/ 95 w 107"/>
                <a:gd name="T65" fmla="*/ 77 h 148"/>
                <a:gd name="T66" fmla="*/ 95 w 107"/>
                <a:gd name="T67" fmla="*/ 77 h 148"/>
                <a:gd name="T68" fmla="*/ 106 w 107"/>
                <a:gd name="T69" fmla="*/ 61 h 148"/>
                <a:gd name="T70" fmla="*/ 104 w 107"/>
                <a:gd name="T71" fmla="*/ 47 h 148"/>
                <a:gd name="T72" fmla="*/ 103 w 107"/>
                <a:gd name="T73" fmla="*/ 46 h 148"/>
                <a:gd name="T74" fmla="*/ 103 w 107"/>
                <a:gd name="T75" fmla="*/ 46 h 148"/>
                <a:gd name="T76" fmla="*/ 103 w 107"/>
                <a:gd name="T77" fmla="*/ 45 h 148"/>
                <a:gd name="T78" fmla="*/ 97 w 107"/>
                <a:gd name="T79" fmla="*/ 16 h 148"/>
                <a:gd name="T80" fmla="*/ 63 w 107"/>
                <a:gd name="T81" fmla="*/ 0 h 148"/>
                <a:gd name="T82" fmla="*/ 29 w 107"/>
                <a:gd name="T83" fmla="*/ 16 h 148"/>
                <a:gd name="T84" fmla="*/ 23 w 107"/>
                <a:gd name="T85" fmla="*/ 45 h 148"/>
                <a:gd name="T86" fmla="*/ 23 w 107"/>
                <a:gd name="T87" fmla="*/ 46 h 148"/>
                <a:gd name="T88" fmla="*/ 23 w 107"/>
                <a:gd name="T89" fmla="*/ 46 h 148"/>
                <a:gd name="T90" fmla="*/ 22 w 107"/>
                <a:gd name="T91" fmla="*/ 47 h 148"/>
                <a:gd name="T92" fmla="*/ 20 w 107"/>
                <a:gd name="T93" fmla="*/ 61 h 148"/>
                <a:gd name="T94" fmla="*/ 31 w 107"/>
                <a:gd name="T95" fmla="*/ 77 h 148"/>
                <a:gd name="T96" fmla="*/ 31 w 107"/>
                <a:gd name="T97" fmla="*/ 77 h 148"/>
                <a:gd name="T98" fmla="*/ 37 w 107"/>
                <a:gd name="T99" fmla="*/ 91 h 148"/>
                <a:gd name="T100" fmla="*/ 37 w 107"/>
                <a:gd name="T101" fmla="*/ 91 h 148"/>
                <a:gd name="T102" fmla="*/ 37 w 107"/>
                <a:gd name="T103" fmla="*/ 108 h 148"/>
                <a:gd name="T104" fmla="*/ 29 w 107"/>
                <a:gd name="T105" fmla="*/ 113 h 148"/>
                <a:gd name="T106" fmla="*/ 29 w 107"/>
                <a:gd name="T107" fmla="*/ 113 h 148"/>
                <a:gd name="T108" fmla="*/ 0 w 107"/>
                <a:gd name="T109" fmla="*/ 144 h 148"/>
                <a:gd name="T110" fmla="*/ 4 w 107"/>
                <a:gd name="T111" fmla="*/ 148 h 148"/>
                <a:gd name="T112" fmla="*/ 91 w 107"/>
                <a:gd name="T113" fmla="*/ 148 h 148"/>
                <a:gd name="T114" fmla="*/ 91 w 107"/>
                <a:gd name="T115" fmla="*/ 141 h 148"/>
                <a:gd name="T116" fmla="*/ 8 w 107"/>
                <a:gd name="T117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48">
                  <a:moveTo>
                    <a:pt x="8" y="14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10" y="131"/>
                    <a:pt x="18" y="123"/>
                    <a:pt x="32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8" y="117"/>
                    <a:pt x="42" y="115"/>
                    <a:pt x="43" y="111"/>
                  </a:cubicBezTo>
                  <a:cubicBezTo>
                    <a:pt x="46" y="104"/>
                    <a:pt x="44" y="92"/>
                    <a:pt x="43" y="89"/>
                  </a:cubicBezTo>
                  <a:cubicBezTo>
                    <a:pt x="43" y="89"/>
                    <a:pt x="43" y="89"/>
                    <a:pt x="43" y="88"/>
                  </a:cubicBezTo>
                  <a:cubicBezTo>
                    <a:pt x="40" y="84"/>
                    <a:pt x="38" y="79"/>
                    <a:pt x="36" y="73"/>
                  </a:cubicBezTo>
                  <a:cubicBezTo>
                    <a:pt x="36" y="71"/>
                    <a:pt x="35" y="70"/>
                    <a:pt x="33" y="70"/>
                  </a:cubicBezTo>
                  <a:cubicBezTo>
                    <a:pt x="31" y="70"/>
                    <a:pt x="28" y="66"/>
                    <a:pt x="27" y="60"/>
                  </a:cubicBezTo>
                  <a:cubicBezTo>
                    <a:pt x="26" y="53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9" y="51"/>
                    <a:pt x="30" y="51"/>
                    <a:pt x="30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28" y="37"/>
                    <a:pt x="29" y="27"/>
                    <a:pt x="35" y="20"/>
                  </a:cubicBezTo>
                  <a:cubicBezTo>
                    <a:pt x="41" y="11"/>
                    <a:pt x="51" y="6"/>
                    <a:pt x="63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7" y="27"/>
                    <a:pt x="98" y="37"/>
                    <a:pt x="95" y="47"/>
                  </a:cubicBezTo>
                  <a:cubicBezTo>
                    <a:pt x="95" y="48"/>
                    <a:pt x="95" y="49"/>
                    <a:pt x="96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5" y="70"/>
                    <a:pt x="93" y="70"/>
                  </a:cubicBezTo>
                  <a:cubicBezTo>
                    <a:pt x="91" y="70"/>
                    <a:pt x="90" y="71"/>
                    <a:pt x="90" y="73"/>
                  </a:cubicBezTo>
                  <a:cubicBezTo>
                    <a:pt x="88" y="79"/>
                    <a:pt x="86" y="84"/>
                    <a:pt x="83" y="88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92"/>
                    <a:pt x="80" y="104"/>
                    <a:pt x="83" y="111"/>
                  </a:cubicBezTo>
                  <a:cubicBezTo>
                    <a:pt x="84" y="114"/>
                    <a:pt x="86" y="116"/>
                    <a:pt x="91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9" y="110"/>
                    <a:pt x="89" y="109"/>
                    <a:pt x="89" y="108"/>
                  </a:cubicBezTo>
                  <a:cubicBezTo>
                    <a:pt x="87" y="105"/>
                    <a:pt x="88" y="96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1" y="87"/>
                    <a:pt x="94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5" y="67"/>
                    <a:pt x="106" y="61"/>
                  </a:cubicBezTo>
                  <a:cubicBezTo>
                    <a:pt x="107" y="54"/>
                    <a:pt x="106" y="50"/>
                    <a:pt x="104" y="47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5" y="35"/>
                    <a:pt x="103" y="24"/>
                    <a:pt x="97" y="16"/>
                  </a:cubicBezTo>
                  <a:cubicBezTo>
                    <a:pt x="89" y="5"/>
                    <a:pt x="77" y="0"/>
                    <a:pt x="63" y="0"/>
                  </a:cubicBezTo>
                  <a:cubicBezTo>
                    <a:pt x="49" y="0"/>
                    <a:pt x="37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0" y="50"/>
                    <a:pt x="19" y="54"/>
                    <a:pt x="20" y="61"/>
                  </a:cubicBezTo>
                  <a:cubicBezTo>
                    <a:pt x="21" y="67"/>
                    <a:pt x="25" y="75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82"/>
                    <a:pt x="35" y="87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7" y="92"/>
                    <a:pt x="39" y="104"/>
                    <a:pt x="37" y="108"/>
                  </a:cubicBezTo>
                  <a:cubicBezTo>
                    <a:pt x="37" y="110"/>
                    <a:pt x="33" y="111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19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1"/>
                    <a:pt x="91" y="141"/>
                    <a:pt x="91" y="141"/>
                  </a:cubicBezTo>
                  <a:lnTo>
                    <a:pt x="8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7" name="Freeform 7">
              <a:extLst>
                <a:ext uri="{FF2B5EF4-FFF2-40B4-BE49-F238E27FC236}">
                  <a16:creationId xmlns:a16="http://schemas.microsoft.com/office/drawing/2014/main" id="{83507024-9829-8A70-5BB3-232188039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775201"/>
              <a:ext cx="107950" cy="11113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8" name="Freeform 8">
              <a:extLst>
                <a:ext uri="{FF2B5EF4-FFF2-40B4-BE49-F238E27FC236}">
                  <a16:creationId xmlns:a16="http://schemas.microsoft.com/office/drawing/2014/main" id="{F2282CD2-F0FE-CF0C-A6B4-B87AEF113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18063"/>
              <a:ext cx="107950" cy="15875"/>
            </a:xfrm>
            <a:custGeom>
              <a:avLst/>
              <a:gdLst>
                <a:gd name="T0" fmla="*/ 32 w 34"/>
                <a:gd name="T1" fmla="*/ 0 h 5"/>
                <a:gd name="T2" fmla="*/ 2 w 34"/>
                <a:gd name="T3" fmla="*/ 0 h 5"/>
                <a:gd name="T4" fmla="*/ 0 w 34"/>
                <a:gd name="T5" fmla="*/ 3 h 5"/>
                <a:gd name="T6" fmla="*/ 2 w 34"/>
                <a:gd name="T7" fmla="*/ 5 h 5"/>
                <a:gd name="T8" fmla="*/ 32 w 34"/>
                <a:gd name="T9" fmla="*/ 5 h 5"/>
                <a:gd name="T10" fmla="*/ 34 w 34"/>
                <a:gd name="T11" fmla="*/ 3 h 5"/>
                <a:gd name="T12" fmla="*/ 32 w 3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3"/>
                  </a:cubicBezTo>
                  <a:cubicBezTo>
                    <a:pt x="0" y="4"/>
                    <a:pt x="0" y="5"/>
                    <a:pt x="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3" y="5"/>
                    <a:pt x="34" y="4"/>
                    <a:pt x="34" y="3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9" name="Freeform 9">
              <a:extLst>
                <a:ext uri="{FF2B5EF4-FFF2-40B4-BE49-F238E27FC236}">
                  <a16:creationId xmlns:a16="http://schemas.microsoft.com/office/drawing/2014/main" id="{653A1CCF-E23B-AA24-3F63-D019B7587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65688"/>
              <a:ext cx="107950" cy="12700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0" name="Oval 10">
              <a:extLst>
                <a:ext uri="{FF2B5EF4-FFF2-40B4-BE49-F238E27FC236}">
                  <a16:creationId xmlns:a16="http://schemas.microsoft.com/office/drawing/2014/main" id="{2940575C-DA44-578C-1487-4D09A3E36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772026"/>
              <a:ext cx="19050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1" name="Oval 11">
              <a:extLst>
                <a:ext uri="{FF2B5EF4-FFF2-40B4-BE49-F238E27FC236}">
                  <a16:creationId xmlns:a16="http://schemas.microsoft.com/office/drawing/2014/main" id="{733654AB-6964-A370-B465-A734583B2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14888"/>
              <a:ext cx="19050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2" name="Oval 12">
              <a:extLst>
                <a:ext uri="{FF2B5EF4-FFF2-40B4-BE49-F238E27FC236}">
                  <a16:creationId xmlns:a16="http://schemas.microsoft.com/office/drawing/2014/main" id="{A44B1CD4-04C7-A23D-2C8F-CC59C40A23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625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3" name="Freeform 13">
              <a:extLst>
                <a:ext uri="{FF2B5EF4-FFF2-40B4-BE49-F238E27FC236}">
                  <a16:creationId xmlns:a16="http://schemas.microsoft.com/office/drawing/2014/main" id="{DFA19218-5A94-DD59-EDF4-E87BB46067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363" y="4660901"/>
              <a:ext cx="190500" cy="274638"/>
            </a:xfrm>
            <a:custGeom>
              <a:avLst/>
              <a:gdLst>
                <a:gd name="T0" fmla="*/ 52 w 60"/>
                <a:gd name="T1" fmla="*/ 12 h 87"/>
                <a:gd name="T2" fmla="*/ 46 w 60"/>
                <a:gd name="T3" fmla="*/ 12 h 87"/>
                <a:gd name="T4" fmla="*/ 46 w 60"/>
                <a:gd name="T5" fmla="*/ 9 h 87"/>
                <a:gd name="T6" fmla="*/ 41 w 60"/>
                <a:gd name="T7" fmla="*/ 4 h 87"/>
                <a:gd name="T8" fmla="*/ 34 w 60"/>
                <a:gd name="T9" fmla="*/ 4 h 87"/>
                <a:gd name="T10" fmla="*/ 30 w 60"/>
                <a:gd name="T11" fmla="*/ 0 h 87"/>
                <a:gd name="T12" fmla="*/ 26 w 60"/>
                <a:gd name="T13" fmla="*/ 4 h 87"/>
                <a:gd name="T14" fmla="*/ 18 w 60"/>
                <a:gd name="T15" fmla="*/ 4 h 87"/>
                <a:gd name="T16" fmla="*/ 14 w 60"/>
                <a:gd name="T17" fmla="*/ 9 h 87"/>
                <a:gd name="T18" fmla="*/ 14 w 60"/>
                <a:gd name="T19" fmla="*/ 12 h 87"/>
                <a:gd name="T20" fmla="*/ 7 w 60"/>
                <a:gd name="T21" fmla="*/ 12 h 87"/>
                <a:gd name="T22" fmla="*/ 7 w 60"/>
                <a:gd name="T23" fmla="*/ 12 h 87"/>
                <a:gd name="T24" fmla="*/ 0 w 60"/>
                <a:gd name="T25" fmla="*/ 20 h 87"/>
                <a:gd name="T26" fmla="*/ 0 w 60"/>
                <a:gd name="T27" fmla="*/ 79 h 87"/>
                <a:gd name="T28" fmla="*/ 8 w 60"/>
                <a:gd name="T29" fmla="*/ 87 h 87"/>
                <a:gd name="T30" fmla="*/ 52 w 60"/>
                <a:gd name="T31" fmla="*/ 87 h 87"/>
                <a:gd name="T32" fmla="*/ 52 w 60"/>
                <a:gd name="T33" fmla="*/ 87 h 87"/>
                <a:gd name="T34" fmla="*/ 60 w 60"/>
                <a:gd name="T35" fmla="*/ 79 h 87"/>
                <a:gd name="T36" fmla="*/ 60 w 60"/>
                <a:gd name="T37" fmla="*/ 20 h 87"/>
                <a:gd name="T38" fmla="*/ 52 w 60"/>
                <a:gd name="T39" fmla="*/ 12 h 87"/>
                <a:gd name="T40" fmla="*/ 18 w 60"/>
                <a:gd name="T41" fmla="*/ 9 h 87"/>
                <a:gd name="T42" fmla="*/ 41 w 60"/>
                <a:gd name="T43" fmla="*/ 9 h 87"/>
                <a:gd name="T44" fmla="*/ 41 w 60"/>
                <a:gd name="T45" fmla="*/ 16 h 87"/>
                <a:gd name="T46" fmla="*/ 18 w 60"/>
                <a:gd name="T47" fmla="*/ 16 h 87"/>
                <a:gd name="T48" fmla="*/ 18 w 60"/>
                <a:gd name="T49" fmla="*/ 9 h 87"/>
                <a:gd name="T50" fmla="*/ 55 w 60"/>
                <a:gd name="T51" fmla="*/ 79 h 87"/>
                <a:gd name="T52" fmla="*/ 52 w 60"/>
                <a:gd name="T53" fmla="*/ 82 h 87"/>
                <a:gd name="T54" fmla="*/ 8 w 60"/>
                <a:gd name="T55" fmla="*/ 82 h 87"/>
                <a:gd name="T56" fmla="*/ 5 w 60"/>
                <a:gd name="T57" fmla="*/ 79 h 87"/>
                <a:gd name="T58" fmla="*/ 5 w 60"/>
                <a:gd name="T59" fmla="*/ 20 h 87"/>
                <a:gd name="T60" fmla="*/ 8 w 60"/>
                <a:gd name="T61" fmla="*/ 16 h 87"/>
                <a:gd name="T62" fmla="*/ 14 w 60"/>
                <a:gd name="T63" fmla="*/ 16 h 87"/>
                <a:gd name="T64" fmla="*/ 18 w 60"/>
                <a:gd name="T65" fmla="*/ 21 h 87"/>
                <a:gd name="T66" fmla="*/ 41 w 60"/>
                <a:gd name="T67" fmla="*/ 21 h 87"/>
                <a:gd name="T68" fmla="*/ 46 w 60"/>
                <a:gd name="T69" fmla="*/ 16 h 87"/>
                <a:gd name="T70" fmla="*/ 52 w 60"/>
                <a:gd name="T71" fmla="*/ 16 h 87"/>
                <a:gd name="T72" fmla="*/ 55 w 60"/>
                <a:gd name="T73" fmla="*/ 20 h 87"/>
                <a:gd name="T74" fmla="*/ 55 w 60"/>
                <a:gd name="T75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87">
                  <a:moveTo>
                    <a:pt x="52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6"/>
                    <a:pt x="44" y="4"/>
                    <a:pt x="41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6" y="2"/>
                    <a:pt x="2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4" y="6"/>
                    <a:pt x="14" y="9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6"/>
                    <a:pt x="0" y="2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3" y="87"/>
                    <a:pt x="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6" y="87"/>
                    <a:pt x="60" y="83"/>
                    <a:pt x="60" y="7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6"/>
                    <a:pt x="56" y="12"/>
                    <a:pt x="52" y="12"/>
                  </a:cubicBezTo>
                  <a:close/>
                  <a:moveTo>
                    <a:pt x="18" y="9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18" y="16"/>
                    <a:pt x="18" y="16"/>
                    <a:pt x="18" y="16"/>
                  </a:cubicBezTo>
                  <a:lnTo>
                    <a:pt x="18" y="9"/>
                  </a:lnTo>
                  <a:close/>
                  <a:moveTo>
                    <a:pt x="55" y="79"/>
                  </a:moveTo>
                  <a:cubicBezTo>
                    <a:pt x="55" y="81"/>
                    <a:pt x="54" y="82"/>
                    <a:pt x="52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6" y="82"/>
                    <a:pt x="5" y="81"/>
                    <a:pt x="5" y="7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8"/>
                    <a:pt x="6" y="16"/>
                    <a:pt x="8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9"/>
                    <a:pt x="16" y="21"/>
                    <a:pt x="18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4" y="21"/>
                    <a:pt x="46" y="19"/>
                    <a:pt x="46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4" y="16"/>
                    <a:pt x="55" y="18"/>
                    <a:pt x="55" y="20"/>
                  </a:cubicBezTo>
                  <a:lnTo>
                    <a:pt x="5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36A2123F-937D-AABA-8D67-3F18D4BB8CCD}"/>
              </a:ext>
            </a:extLst>
          </p:cNvPr>
          <p:cNvSpPr/>
          <p:nvPr/>
        </p:nvSpPr>
        <p:spPr>
          <a:xfrm>
            <a:off x="8531743" y="5142714"/>
            <a:ext cx="1786042" cy="432000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AU" sz="850" dirty="0">
                <a:solidFill>
                  <a:schemeClr val="accent6"/>
                </a:solidFill>
                <a:cs typeface="Segoe UI Semilight" panose="020B0402040204020203" pitchFamily="34" charset="0"/>
              </a:rPr>
              <a:t>Planner issues a general letter to inform that the council is unlikely to support the application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4A20140-1327-142D-543F-AA76D258AA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70024" y="565862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965FD7C2-7115-9C79-E2D9-BDC72EA95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078855" y="5754750"/>
            <a:ext cx="212949" cy="234313"/>
            <a:chOff x="7299325" y="4395788"/>
            <a:chExt cx="490538" cy="539751"/>
          </a:xfrm>
          <a:solidFill>
            <a:srgbClr val="FFFFFF"/>
          </a:solidFill>
        </p:grpSpPr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D00C335A-A29F-1474-6061-7AE68949E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4395788"/>
              <a:ext cx="338138" cy="466725"/>
            </a:xfrm>
            <a:custGeom>
              <a:avLst/>
              <a:gdLst>
                <a:gd name="T0" fmla="*/ 8 w 107"/>
                <a:gd name="T1" fmla="*/ 141 h 148"/>
                <a:gd name="T2" fmla="*/ 8 w 107"/>
                <a:gd name="T3" fmla="*/ 141 h 148"/>
                <a:gd name="T4" fmla="*/ 32 w 107"/>
                <a:gd name="T5" fmla="*/ 119 h 148"/>
                <a:gd name="T6" fmla="*/ 32 w 107"/>
                <a:gd name="T7" fmla="*/ 119 h 148"/>
                <a:gd name="T8" fmla="*/ 43 w 107"/>
                <a:gd name="T9" fmla="*/ 111 h 148"/>
                <a:gd name="T10" fmla="*/ 43 w 107"/>
                <a:gd name="T11" fmla="*/ 89 h 148"/>
                <a:gd name="T12" fmla="*/ 43 w 107"/>
                <a:gd name="T13" fmla="*/ 88 h 148"/>
                <a:gd name="T14" fmla="*/ 36 w 107"/>
                <a:gd name="T15" fmla="*/ 73 h 148"/>
                <a:gd name="T16" fmla="*/ 33 w 107"/>
                <a:gd name="T17" fmla="*/ 70 h 148"/>
                <a:gd name="T18" fmla="*/ 27 w 107"/>
                <a:gd name="T19" fmla="*/ 60 h 148"/>
                <a:gd name="T20" fmla="*/ 27 w 107"/>
                <a:gd name="T21" fmla="*/ 51 h 148"/>
                <a:gd name="T22" fmla="*/ 27 w 107"/>
                <a:gd name="T23" fmla="*/ 51 h 148"/>
                <a:gd name="T24" fmla="*/ 30 w 107"/>
                <a:gd name="T25" fmla="*/ 50 h 148"/>
                <a:gd name="T26" fmla="*/ 31 w 107"/>
                <a:gd name="T27" fmla="*/ 47 h 148"/>
                <a:gd name="T28" fmla="*/ 35 w 107"/>
                <a:gd name="T29" fmla="*/ 20 h 148"/>
                <a:gd name="T30" fmla="*/ 63 w 107"/>
                <a:gd name="T31" fmla="*/ 6 h 148"/>
                <a:gd name="T32" fmla="*/ 91 w 107"/>
                <a:gd name="T33" fmla="*/ 20 h 148"/>
                <a:gd name="T34" fmla="*/ 95 w 107"/>
                <a:gd name="T35" fmla="*/ 47 h 148"/>
                <a:gd name="T36" fmla="*/ 96 w 107"/>
                <a:gd name="T37" fmla="*/ 50 h 148"/>
                <a:gd name="T38" fmla="*/ 98 w 107"/>
                <a:gd name="T39" fmla="*/ 51 h 148"/>
                <a:gd name="T40" fmla="*/ 99 w 107"/>
                <a:gd name="T41" fmla="*/ 51 h 148"/>
                <a:gd name="T42" fmla="*/ 99 w 107"/>
                <a:gd name="T43" fmla="*/ 60 h 148"/>
                <a:gd name="T44" fmla="*/ 93 w 107"/>
                <a:gd name="T45" fmla="*/ 70 h 148"/>
                <a:gd name="T46" fmla="*/ 90 w 107"/>
                <a:gd name="T47" fmla="*/ 73 h 148"/>
                <a:gd name="T48" fmla="*/ 83 w 107"/>
                <a:gd name="T49" fmla="*/ 88 h 148"/>
                <a:gd name="T50" fmla="*/ 83 w 107"/>
                <a:gd name="T51" fmla="*/ 89 h 148"/>
                <a:gd name="T52" fmla="*/ 83 w 107"/>
                <a:gd name="T53" fmla="*/ 111 h 148"/>
                <a:gd name="T54" fmla="*/ 91 w 107"/>
                <a:gd name="T55" fmla="*/ 118 h 148"/>
                <a:gd name="T56" fmla="*/ 91 w 107"/>
                <a:gd name="T57" fmla="*/ 111 h 148"/>
                <a:gd name="T58" fmla="*/ 89 w 107"/>
                <a:gd name="T59" fmla="*/ 108 h 148"/>
                <a:gd name="T60" fmla="*/ 89 w 107"/>
                <a:gd name="T61" fmla="*/ 91 h 148"/>
                <a:gd name="T62" fmla="*/ 89 w 107"/>
                <a:gd name="T63" fmla="*/ 91 h 148"/>
                <a:gd name="T64" fmla="*/ 95 w 107"/>
                <a:gd name="T65" fmla="*/ 77 h 148"/>
                <a:gd name="T66" fmla="*/ 95 w 107"/>
                <a:gd name="T67" fmla="*/ 77 h 148"/>
                <a:gd name="T68" fmla="*/ 106 w 107"/>
                <a:gd name="T69" fmla="*/ 61 h 148"/>
                <a:gd name="T70" fmla="*/ 104 w 107"/>
                <a:gd name="T71" fmla="*/ 47 h 148"/>
                <a:gd name="T72" fmla="*/ 103 w 107"/>
                <a:gd name="T73" fmla="*/ 46 h 148"/>
                <a:gd name="T74" fmla="*/ 103 w 107"/>
                <a:gd name="T75" fmla="*/ 46 h 148"/>
                <a:gd name="T76" fmla="*/ 103 w 107"/>
                <a:gd name="T77" fmla="*/ 45 h 148"/>
                <a:gd name="T78" fmla="*/ 97 w 107"/>
                <a:gd name="T79" fmla="*/ 16 h 148"/>
                <a:gd name="T80" fmla="*/ 63 w 107"/>
                <a:gd name="T81" fmla="*/ 0 h 148"/>
                <a:gd name="T82" fmla="*/ 29 w 107"/>
                <a:gd name="T83" fmla="*/ 16 h 148"/>
                <a:gd name="T84" fmla="*/ 23 w 107"/>
                <a:gd name="T85" fmla="*/ 45 h 148"/>
                <a:gd name="T86" fmla="*/ 23 w 107"/>
                <a:gd name="T87" fmla="*/ 46 h 148"/>
                <a:gd name="T88" fmla="*/ 23 w 107"/>
                <a:gd name="T89" fmla="*/ 46 h 148"/>
                <a:gd name="T90" fmla="*/ 22 w 107"/>
                <a:gd name="T91" fmla="*/ 47 h 148"/>
                <a:gd name="T92" fmla="*/ 20 w 107"/>
                <a:gd name="T93" fmla="*/ 61 h 148"/>
                <a:gd name="T94" fmla="*/ 31 w 107"/>
                <a:gd name="T95" fmla="*/ 77 h 148"/>
                <a:gd name="T96" fmla="*/ 31 w 107"/>
                <a:gd name="T97" fmla="*/ 77 h 148"/>
                <a:gd name="T98" fmla="*/ 37 w 107"/>
                <a:gd name="T99" fmla="*/ 91 h 148"/>
                <a:gd name="T100" fmla="*/ 37 w 107"/>
                <a:gd name="T101" fmla="*/ 91 h 148"/>
                <a:gd name="T102" fmla="*/ 37 w 107"/>
                <a:gd name="T103" fmla="*/ 108 h 148"/>
                <a:gd name="T104" fmla="*/ 29 w 107"/>
                <a:gd name="T105" fmla="*/ 113 h 148"/>
                <a:gd name="T106" fmla="*/ 29 w 107"/>
                <a:gd name="T107" fmla="*/ 113 h 148"/>
                <a:gd name="T108" fmla="*/ 0 w 107"/>
                <a:gd name="T109" fmla="*/ 144 h 148"/>
                <a:gd name="T110" fmla="*/ 4 w 107"/>
                <a:gd name="T111" fmla="*/ 148 h 148"/>
                <a:gd name="T112" fmla="*/ 91 w 107"/>
                <a:gd name="T113" fmla="*/ 148 h 148"/>
                <a:gd name="T114" fmla="*/ 91 w 107"/>
                <a:gd name="T115" fmla="*/ 141 h 148"/>
                <a:gd name="T116" fmla="*/ 8 w 107"/>
                <a:gd name="T117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48">
                  <a:moveTo>
                    <a:pt x="8" y="14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10" y="131"/>
                    <a:pt x="18" y="123"/>
                    <a:pt x="32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8" y="117"/>
                    <a:pt x="42" y="115"/>
                    <a:pt x="43" y="111"/>
                  </a:cubicBezTo>
                  <a:cubicBezTo>
                    <a:pt x="46" y="104"/>
                    <a:pt x="44" y="92"/>
                    <a:pt x="43" y="89"/>
                  </a:cubicBezTo>
                  <a:cubicBezTo>
                    <a:pt x="43" y="89"/>
                    <a:pt x="43" y="89"/>
                    <a:pt x="43" y="88"/>
                  </a:cubicBezTo>
                  <a:cubicBezTo>
                    <a:pt x="40" y="84"/>
                    <a:pt x="38" y="79"/>
                    <a:pt x="36" y="73"/>
                  </a:cubicBezTo>
                  <a:cubicBezTo>
                    <a:pt x="36" y="71"/>
                    <a:pt x="35" y="70"/>
                    <a:pt x="33" y="70"/>
                  </a:cubicBezTo>
                  <a:cubicBezTo>
                    <a:pt x="31" y="70"/>
                    <a:pt x="28" y="66"/>
                    <a:pt x="27" y="60"/>
                  </a:cubicBezTo>
                  <a:cubicBezTo>
                    <a:pt x="26" y="53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9" y="51"/>
                    <a:pt x="30" y="51"/>
                    <a:pt x="30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28" y="37"/>
                    <a:pt x="29" y="27"/>
                    <a:pt x="35" y="20"/>
                  </a:cubicBezTo>
                  <a:cubicBezTo>
                    <a:pt x="41" y="11"/>
                    <a:pt x="51" y="6"/>
                    <a:pt x="63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7" y="27"/>
                    <a:pt x="98" y="37"/>
                    <a:pt x="95" y="47"/>
                  </a:cubicBezTo>
                  <a:cubicBezTo>
                    <a:pt x="95" y="48"/>
                    <a:pt x="95" y="49"/>
                    <a:pt x="96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5" y="70"/>
                    <a:pt x="93" y="70"/>
                  </a:cubicBezTo>
                  <a:cubicBezTo>
                    <a:pt x="91" y="70"/>
                    <a:pt x="90" y="71"/>
                    <a:pt x="90" y="73"/>
                  </a:cubicBezTo>
                  <a:cubicBezTo>
                    <a:pt x="88" y="79"/>
                    <a:pt x="86" y="84"/>
                    <a:pt x="83" y="88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92"/>
                    <a:pt x="80" y="104"/>
                    <a:pt x="83" y="111"/>
                  </a:cubicBezTo>
                  <a:cubicBezTo>
                    <a:pt x="84" y="114"/>
                    <a:pt x="86" y="116"/>
                    <a:pt x="91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9" y="110"/>
                    <a:pt x="89" y="109"/>
                    <a:pt x="89" y="108"/>
                  </a:cubicBezTo>
                  <a:cubicBezTo>
                    <a:pt x="87" y="105"/>
                    <a:pt x="88" y="96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1" y="87"/>
                    <a:pt x="94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5" y="67"/>
                    <a:pt x="106" y="61"/>
                  </a:cubicBezTo>
                  <a:cubicBezTo>
                    <a:pt x="107" y="54"/>
                    <a:pt x="106" y="50"/>
                    <a:pt x="104" y="47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5" y="35"/>
                    <a:pt x="103" y="24"/>
                    <a:pt x="97" y="16"/>
                  </a:cubicBezTo>
                  <a:cubicBezTo>
                    <a:pt x="89" y="5"/>
                    <a:pt x="77" y="0"/>
                    <a:pt x="63" y="0"/>
                  </a:cubicBezTo>
                  <a:cubicBezTo>
                    <a:pt x="49" y="0"/>
                    <a:pt x="37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0" y="50"/>
                    <a:pt x="19" y="54"/>
                    <a:pt x="20" y="61"/>
                  </a:cubicBezTo>
                  <a:cubicBezTo>
                    <a:pt x="21" y="67"/>
                    <a:pt x="25" y="75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82"/>
                    <a:pt x="35" y="87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7" y="92"/>
                    <a:pt x="39" y="104"/>
                    <a:pt x="37" y="108"/>
                  </a:cubicBezTo>
                  <a:cubicBezTo>
                    <a:pt x="37" y="110"/>
                    <a:pt x="33" y="111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19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1"/>
                    <a:pt x="91" y="141"/>
                    <a:pt x="91" y="141"/>
                  </a:cubicBezTo>
                  <a:lnTo>
                    <a:pt x="8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905A216F-2A99-C380-43D9-C873AE00F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775201"/>
              <a:ext cx="107950" cy="11113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303A9F4C-E1A8-CA00-2EE7-85C05AA4F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18063"/>
              <a:ext cx="107950" cy="15875"/>
            </a:xfrm>
            <a:custGeom>
              <a:avLst/>
              <a:gdLst>
                <a:gd name="T0" fmla="*/ 32 w 34"/>
                <a:gd name="T1" fmla="*/ 0 h 5"/>
                <a:gd name="T2" fmla="*/ 2 w 34"/>
                <a:gd name="T3" fmla="*/ 0 h 5"/>
                <a:gd name="T4" fmla="*/ 0 w 34"/>
                <a:gd name="T5" fmla="*/ 3 h 5"/>
                <a:gd name="T6" fmla="*/ 2 w 34"/>
                <a:gd name="T7" fmla="*/ 5 h 5"/>
                <a:gd name="T8" fmla="*/ 32 w 34"/>
                <a:gd name="T9" fmla="*/ 5 h 5"/>
                <a:gd name="T10" fmla="*/ 34 w 34"/>
                <a:gd name="T11" fmla="*/ 3 h 5"/>
                <a:gd name="T12" fmla="*/ 32 w 3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3"/>
                  </a:cubicBezTo>
                  <a:cubicBezTo>
                    <a:pt x="0" y="4"/>
                    <a:pt x="0" y="5"/>
                    <a:pt x="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3" y="5"/>
                    <a:pt x="34" y="4"/>
                    <a:pt x="34" y="3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FD4C243F-3288-988D-7F44-6B1625B4F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65688"/>
              <a:ext cx="107950" cy="12700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0" name="Oval 10">
              <a:extLst>
                <a:ext uri="{FF2B5EF4-FFF2-40B4-BE49-F238E27FC236}">
                  <a16:creationId xmlns:a16="http://schemas.microsoft.com/office/drawing/2014/main" id="{EA06286B-517A-80D5-8114-9C266DDB05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772026"/>
              <a:ext cx="19050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1" name="Oval 11">
              <a:extLst>
                <a:ext uri="{FF2B5EF4-FFF2-40B4-BE49-F238E27FC236}">
                  <a16:creationId xmlns:a16="http://schemas.microsoft.com/office/drawing/2014/main" id="{E960DF16-936F-ADC2-2B7C-59F61CF8C3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14888"/>
              <a:ext cx="19050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2" name="Oval 12">
              <a:extLst>
                <a:ext uri="{FF2B5EF4-FFF2-40B4-BE49-F238E27FC236}">
                  <a16:creationId xmlns:a16="http://schemas.microsoft.com/office/drawing/2014/main" id="{7E8622B4-F779-AFDA-8595-869F9B00D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625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3" name="Freeform 13">
              <a:extLst>
                <a:ext uri="{FF2B5EF4-FFF2-40B4-BE49-F238E27FC236}">
                  <a16:creationId xmlns:a16="http://schemas.microsoft.com/office/drawing/2014/main" id="{AABBCAB5-CF53-9CA3-9779-5AFC08C637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363" y="4660901"/>
              <a:ext cx="190500" cy="274638"/>
            </a:xfrm>
            <a:custGeom>
              <a:avLst/>
              <a:gdLst>
                <a:gd name="T0" fmla="*/ 52 w 60"/>
                <a:gd name="T1" fmla="*/ 12 h 87"/>
                <a:gd name="T2" fmla="*/ 46 w 60"/>
                <a:gd name="T3" fmla="*/ 12 h 87"/>
                <a:gd name="T4" fmla="*/ 46 w 60"/>
                <a:gd name="T5" fmla="*/ 9 h 87"/>
                <a:gd name="T6" fmla="*/ 41 w 60"/>
                <a:gd name="T7" fmla="*/ 4 h 87"/>
                <a:gd name="T8" fmla="*/ 34 w 60"/>
                <a:gd name="T9" fmla="*/ 4 h 87"/>
                <a:gd name="T10" fmla="*/ 30 w 60"/>
                <a:gd name="T11" fmla="*/ 0 h 87"/>
                <a:gd name="T12" fmla="*/ 26 w 60"/>
                <a:gd name="T13" fmla="*/ 4 h 87"/>
                <a:gd name="T14" fmla="*/ 18 w 60"/>
                <a:gd name="T15" fmla="*/ 4 h 87"/>
                <a:gd name="T16" fmla="*/ 14 w 60"/>
                <a:gd name="T17" fmla="*/ 9 h 87"/>
                <a:gd name="T18" fmla="*/ 14 w 60"/>
                <a:gd name="T19" fmla="*/ 12 h 87"/>
                <a:gd name="T20" fmla="*/ 7 w 60"/>
                <a:gd name="T21" fmla="*/ 12 h 87"/>
                <a:gd name="T22" fmla="*/ 7 w 60"/>
                <a:gd name="T23" fmla="*/ 12 h 87"/>
                <a:gd name="T24" fmla="*/ 0 w 60"/>
                <a:gd name="T25" fmla="*/ 20 h 87"/>
                <a:gd name="T26" fmla="*/ 0 w 60"/>
                <a:gd name="T27" fmla="*/ 79 h 87"/>
                <a:gd name="T28" fmla="*/ 8 w 60"/>
                <a:gd name="T29" fmla="*/ 87 h 87"/>
                <a:gd name="T30" fmla="*/ 52 w 60"/>
                <a:gd name="T31" fmla="*/ 87 h 87"/>
                <a:gd name="T32" fmla="*/ 52 w 60"/>
                <a:gd name="T33" fmla="*/ 87 h 87"/>
                <a:gd name="T34" fmla="*/ 60 w 60"/>
                <a:gd name="T35" fmla="*/ 79 h 87"/>
                <a:gd name="T36" fmla="*/ 60 w 60"/>
                <a:gd name="T37" fmla="*/ 20 h 87"/>
                <a:gd name="T38" fmla="*/ 52 w 60"/>
                <a:gd name="T39" fmla="*/ 12 h 87"/>
                <a:gd name="T40" fmla="*/ 18 w 60"/>
                <a:gd name="T41" fmla="*/ 9 h 87"/>
                <a:gd name="T42" fmla="*/ 41 w 60"/>
                <a:gd name="T43" fmla="*/ 9 h 87"/>
                <a:gd name="T44" fmla="*/ 41 w 60"/>
                <a:gd name="T45" fmla="*/ 16 h 87"/>
                <a:gd name="T46" fmla="*/ 18 w 60"/>
                <a:gd name="T47" fmla="*/ 16 h 87"/>
                <a:gd name="T48" fmla="*/ 18 w 60"/>
                <a:gd name="T49" fmla="*/ 9 h 87"/>
                <a:gd name="T50" fmla="*/ 55 w 60"/>
                <a:gd name="T51" fmla="*/ 79 h 87"/>
                <a:gd name="T52" fmla="*/ 52 w 60"/>
                <a:gd name="T53" fmla="*/ 82 h 87"/>
                <a:gd name="T54" fmla="*/ 8 w 60"/>
                <a:gd name="T55" fmla="*/ 82 h 87"/>
                <a:gd name="T56" fmla="*/ 5 w 60"/>
                <a:gd name="T57" fmla="*/ 79 h 87"/>
                <a:gd name="T58" fmla="*/ 5 w 60"/>
                <a:gd name="T59" fmla="*/ 20 h 87"/>
                <a:gd name="T60" fmla="*/ 8 w 60"/>
                <a:gd name="T61" fmla="*/ 16 h 87"/>
                <a:gd name="T62" fmla="*/ 14 w 60"/>
                <a:gd name="T63" fmla="*/ 16 h 87"/>
                <a:gd name="T64" fmla="*/ 18 w 60"/>
                <a:gd name="T65" fmla="*/ 21 h 87"/>
                <a:gd name="T66" fmla="*/ 41 w 60"/>
                <a:gd name="T67" fmla="*/ 21 h 87"/>
                <a:gd name="T68" fmla="*/ 46 w 60"/>
                <a:gd name="T69" fmla="*/ 16 h 87"/>
                <a:gd name="T70" fmla="*/ 52 w 60"/>
                <a:gd name="T71" fmla="*/ 16 h 87"/>
                <a:gd name="T72" fmla="*/ 55 w 60"/>
                <a:gd name="T73" fmla="*/ 20 h 87"/>
                <a:gd name="T74" fmla="*/ 55 w 60"/>
                <a:gd name="T75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87">
                  <a:moveTo>
                    <a:pt x="52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6"/>
                    <a:pt x="44" y="4"/>
                    <a:pt x="41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6" y="2"/>
                    <a:pt x="2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4" y="6"/>
                    <a:pt x="14" y="9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6"/>
                    <a:pt x="0" y="2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3" y="87"/>
                    <a:pt x="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6" y="87"/>
                    <a:pt x="60" y="83"/>
                    <a:pt x="60" y="7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6"/>
                    <a:pt x="56" y="12"/>
                    <a:pt x="52" y="12"/>
                  </a:cubicBezTo>
                  <a:close/>
                  <a:moveTo>
                    <a:pt x="18" y="9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18" y="16"/>
                    <a:pt x="18" y="16"/>
                    <a:pt x="18" y="16"/>
                  </a:cubicBezTo>
                  <a:lnTo>
                    <a:pt x="18" y="9"/>
                  </a:lnTo>
                  <a:close/>
                  <a:moveTo>
                    <a:pt x="55" y="79"/>
                  </a:moveTo>
                  <a:cubicBezTo>
                    <a:pt x="55" y="81"/>
                    <a:pt x="54" y="82"/>
                    <a:pt x="52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6" y="82"/>
                    <a:pt x="5" y="81"/>
                    <a:pt x="5" y="7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8"/>
                    <a:pt x="6" y="16"/>
                    <a:pt x="8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9"/>
                    <a:pt x="16" y="21"/>
                    <a:pt x="18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4" y="21"/>
                    <a:pt x="46" y="19"/>
                    <a:pt x="46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4" y="16"/>
                    <a:pt x="55" y="18"/>
                    <a:pt x="55" y="20"/>
                  </a:cubicBezTo>
                  <a:lnTo>
                    <a:pt x="5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A2CF0B03-E5C4-94BC-C087-1A1449389D3B}"/>
              </a:ext>
            </a:extLst>
          </p:cNvPr>
          <p:cNvSpPr/>
          <p:nvPr/>
        </p:nvSpPr>
        <p:spPr>
          <a:xfrm>
            <a:off x="8531744" y="5642052"/>
            <a:ext cx="1786042" cy="499007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r>
              <a:rPr lang="en-AU" sz="850" dirty="0">
                <a:solidFill>
                  <a:schemeClr val="accent6"/>
                </a:solidFill>
                <a:cs typeface="Segoe UI Semilight" panose="020B0402040204020203" pitchFamily="34" charset="0"/>
              </a:rPr>
              <a:t>Planner issues a follow up partial RFI if information is still missing after application has been amended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887892B2-1F4F-7D33-07D8-FF71813B2A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70024" y="6174529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01BB957-E265-857B-5B5F-A448EC9FA2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078855" y="6273373"/>
            <a:ext cx="212949" cy="234313"/>
            <a:chOff x="7299325" y="4395788"/>
            <a:chExt cx="490538" cy="539751"/>
          </a:xfrm>
          <a:solidFill>
            <a:srgbClr val="FFFFFF"/>
          </a:solidFill>
        </p:grpSpPr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B3F0C248-FF46-98E3-D1E6-6F0A56F3E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4395788"/>
              <a:ext cx="338138" cy="466725"/>
            </a:xfrm>
            <a:custGeom>
              <a:avLst/>
              <a:gdLst>
                <a:gd name="T0" fmla="*/ 8 w 107"/>
                <a:gd name="T1" fmla="*/ 141 h 148"/>
                <a:gd name="T2" fmla="*/ 8 w 107"/>
                <a:gd name="T3" fmla="*/ 141 h 148"/>
                <a:gd name="T4" fmla="*/ 32 w 107"/>
                <a:gd name="T5" fmla="*/ 119 h 148"/>
                <a:gd name="T6" fmla="*/ 32 w 107"/>
                <a:gd name="T7" fmla="*/ 119 h 148"/>
                <a:gd name="T8" fmla="*/ 43 w 107"/>
                <a:gd name="T9" fmla="*/ 111 h 148"/>
                <a:gd name="T10" fmla="*/ 43 w 107"/>
                <a:gd name="T11" fmla="*/ 89 h 148"/>
                <a:gd name="T12" fmla="*/ 43 w 107"/>
                <a:gd name="T13" fmla="*/ 88 h 148"/>
                <a:gd name="T14" fmla="*/ 36 w 107"/>
                <a:gd name="T15" fmla="*/ 73 h 148"/>
                <a:gd name="T16" fmla="*/ 33 w 107"/>
                <a:gd name="T17" fmla="*/ 70 h 148"/>
                <a:gd name="T18" fmla="*/ 27 w 107"/>
                <a:gd name="T19" fmla="*/ 60 h 148"/>
                <a:gd name="T20" fmla="*/ 27 w 107"/>
                <a:gd name="T21" fmla="*/ 51 h 148"/>
                <a:gd name="T22" fmla="*/ 27 w 107"/>
                <a:gd name="T23" fmla="*/ 51 h 148"/>
                <a:gd name="T24" fmla="*/ 30 w 107"/>
                <a:gd name="T25" fmla="*/ 50 h 148"/>
                <a:gd name="T26" fmla="*/ 31 w 107"/>
                <a:gd name="T27" fmla="*/ 47 h 148"/>
                <a:gd name="T28" fmla="*/ 35 w 107"/>
                <a:gd name="T29" fmla="*/ 20 h 148"/>
                <a:gd name="T30" fmla="*/ 63 w 107"/>
                <a:gd name="T31" fmla="*/ 6 h 148"/>
                <a:gd name="T32" fmla="*/ 91 w 107"/>
                <a:gd name="T33" fmla="*/ 20 h 148"/>
                <a:gd name="T34" fmla="*/ 95 w 107"/>
                <a:gd name="T35" fmla="*/ 47 h 148"/>
                <a:gd name="T36" fmla="*/ 96 w 107"/>
                <a:gd name="T37" fmla="*/ 50 h 148"/>
                <a:gd name="T38" fmla="*/ 98 w 107"/>
                <a:gd name="T39" fmla="*/ 51 h 148"/>
                <a:gd name="T40" fmla="*/ 99 w 107"/>
                <a:gd name="T41" fmla="*/ 51 h 148"/>
                <a:gd name="T42" fmla="*/ 99 w 107"/>
                <a:gd name="T43" fmla="*/ 60 h 148"/>
                <a:gd name="T44" fmla="*/ 93 w 107"/>
                <a:gd name="T45" fmla="*/ 70 h 148"/>
                <a:gd name="T46" fmla="*/ 90 w 107"/>
                <a:gd name="T47" fmla="*/ 73 h 148"/>
                <a:gd name="T48" fmla="*/ 83 w 107"/>
                <a:gd name="T49" fmla="*/ 88 h 148"/>
                <a:gd name="T50" fmla="*/ 83 w 107"/>
                <a:gd name="T51" fmla="*/ 89 h 148"/>
                <a:gd name="T52" fmla="*/ 83 w 107"/>
                <a:gd name="T53" fmla="*/ 111 h 148"/>
                <a:gd name="T54" fmla="*/ 91 w 107"/>
                <a:gd name="T55" fmla="*/ 118 h 148"/>
                <a:gd name="T56" fmla="*/ 91 w 107"/>
                <a:gd name="T57" fmla="*/ 111 h 148"/>
                <a:gd name="T58" fmla="*/ 89 w 107"/>
                <a:gd name="T59" fmla="*/ 108 h 148"/>
                <a:gd name="T60" fmla="*/ 89 w 107"/>
                <a:gd name="T61" fmla="*/ 91 h 148"/>
                <a:gd name="T62" fmla="*/ 89 w 107"/>
                <a:gd name="T63" fmla="*/ 91 h 148"/>
                <a:gd name="T64" fmla="*/ 95 w 107"/>
                <a:gd name="T65" fmla="*/ 77 h 148"/>
                <a:gd name="T66" fmla="*/ 95 w 107"/>
                <a:gd name="T67" fmla="*/ 77 h 148"/>
                <a:gd name="T68" fmla="*/ 106 w 107"/>
                <a:gd name="T69" fmla="*/ 61 h 148"/>
                <a:gd name="T70" fmla="*/ 104 w 107"/>
                <a:gd name="T71" fmla="*/ 47 h 148"/>
                <a:gd name="T72" fmla="*/ 103 w 107"/>
                <a:gd name="T73" fmla="*/ 46 h 148"/>
                <a:gd name="T74" fmla="*/ 103 w 107"/>
                <a:gd name="T75" fmla="*/ 46 h 148"/>
                <a:gd name="T76" fmla="*/ 103 w 107"/>
                <a:gd name="T77" fmla="*/ 45 h 148"/>
                <a:gd name="T78" fmla="*/ 97 w 107"/>
                <a:gd name="T79" fmla="*/ 16 h 148"/>
                <a:gd name="T80" fmla="*/ 63 w 107"/>
                <a:gd name="T81" fmla="*/ 0 h 148"/>
                <a:gd name="T82" fmla="*/ 29 w 107"/>
                <a:gd name="T83" fmla="*/ 16 h 148"/>
                <a:gd name="T84" fmla="*/ 23 w 107"/>
                <a:gd name="T85" fmla="*/ 45 h 148"/>
                <a:gd name="T86" fmla="*/ 23 w 107"/>
                <a:gd name="T87" fmla="*/ 46 h 148"/>
                <a:gd name="T88" fmla="*/ 23 w 107"/>
                <a:gd name="T89" fmla="*/ 46 h 148"/>
                <a:gd name="T90" fmla="*/ 22 w 107"/>
                <a:gd name="T91" fmla="*/ 47 h 148"/>
                <a:gd name="T92" fmla="*/ 20 w 107"/>
                <a:gd name="T93" fmla="*/ 61 h 148"/>
                <a:gd name="T94" fmla="*/ 31 w 107"/>
                <a:gd name="T95" fmla="*/ 77 h 148"/>
                <a:gd name="T96" fmla="*/ 31 w 107"/>
                <a:gd name="T97" fmla="*/ 77 h 148"/>
                <a:gd name="T98" fmla="*/ 37 w 107"/>
                <a:gd name="T99" fmla="*/ 91 h 148"/>
                <a:gd name="T100" fmla="*/ 37 w 107"/>
                <a:gd name="T101" fmla="*/ 91 h 148"/>
                <a:gd name="T102" fmla="*/ 37 w 107"/>
                <a:gd name="T103" fmla="*/ 108 h 148"/>
                <a:gd name="T104" fmla="*/ 29 w 107"/>
                <a:gd name="T105" fmla="*/ 113 h 148"/>
                <a:gd name="T106" fmla="*/ 29 w 107"/>
                <a:gd name="T107" fmla="*/ 113 h 148"/>
                <a:gd name="T108" fmla="*/ 0 w 107"/>
                <a:gd name="T109" fmla="*/ 144 h 148"/>
                <a:gd name="T110" fmla="*/ 4 w 107"/>
                <a:gd name="T111" fmla="*/ 148 h 148"/>
                <a:gd name="T112" fmla="*/ 91 w 107"/>
                <a:gd name="T113" fmla="*/ 148 h 148"/>
                <a:gd name="T114" fmla="*/ 91 w 107"/>
                <a:gd name="T115" fmla="*/ 141 h 148"/>
                <a:gd name="T116" fmla="*/ 8 w 107"/>
                <a:gd name="T117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48">
                  <a:moveTo>
                    <a:pt x="8" y="14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10" y="131"/>
                    <a:pt x="18" y="123"/>
                    <a:pt x="32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8" y="117"/>
                    <a:pt x="42" y="115"/>
                    <a:pt x="43" y="111"/>
                  </a:cubicBezTo>
                  <a:cubicBezTo>
                    <a:pt x="46" y="104"/>
                    <a:pt x="44" y="92"/>
                    <a:pt x="43" y="89"/>
                  </a:cubicBezTo>
                  <a:cubicBezTo>
                    <a:pt x="43" y="89"/>
                    <a:pt x="43" y="89"/>
                    <a:pt x="43" y="88"/>
                  </a:cubicBezTo>
                  <a:cubicBezTo>
                    <a:pt x="40" y="84"/>
                    <a:pt x="38" y="79"/>
                    <a:pt x="36" y="73"/>
                  </a:cubicBezTo>
                  <a:cubicBezTo>
                    <a:pt x="36" y="71"/>
                    <a:pt x="35" y="70"/>
                    <a:pt x="33" y="70"/>
                  </a:cubicBezTo>
                  <a:cubicBezTo>
                    <a:pt x="31" y="70"/>
                    <a:pt x="28" y="66"/>
                    <a:pt x="27" y="60"/>
                  </a:cubicBezTo>
                  <a:cubicBezTo>
                    <a:pt x="26" y="53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9" y="51"/>
                    <a:pt x="30" y="51"/>
                    <a:pt x="30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28" y="37"/>
                    <a:pt x="29" y="27"/>
                    <a:pt x="35" y="20"/>
                  </a:cubicBezTo>
                  <a:cubicBezTo>
                    <a:pt x="41" y="11"/>
                    <a:pt x="51" y="6"/>
                    <a:pt x="63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7" y="27"/>
                    <a:pt x="98" y="37"/>
                    <a:pt x="95" y="47"/>
                  </a:cubicBezTo>
                  <a:cubicBezTo>
                    <a:pt x="95" y="48"/>
                    <a:pt x="95" y="49"/>
                    <a:pt x="96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5" y="70"/>
                    <a:pt x="93" y="70"/>
                  </a:cubicBezTo>
                  <a:cubicBezTo>
                    <a:pt x="91" y="70"/>
                    <a:pt x="90" y="71"/>
                    <a:pt x="90" y="73"/>
                  </a:cubicBezTo>
                  <a:cubicBezTo>
                    <a:pt x="88" y="79"/>
                    <a:pt x="86" y="84"/>
                    <a:pt x="83" y="88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92"/>
                    <a:pt x="80" y="104"/>
                    <a:pt x="83" y="111"/>
                  </a:cubicBezTo>
                  <a:cubicBezTo>
                    <a:pt x="84" y="114"/>
                    <a:pt x="86" y="116"/>
                    <a:pt x="91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9" y="110"/>
                    <a:pt x="89" y="109"/>
                    <a:pt x="89" y="108"/>
                  </a:cubicBezTo>
                  <a:cubicBezTo>
                    <a:pt x="87" y="105"/>
                    <a:pt x="88" y="96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1" y="87"/>
                    <a:pt x="94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5" y="67"/>
                    <a:pt x="106" y="61"/>
                  </a:cubicBezTo>
                  <a:cubicBezTo>
                    <a:pt x="107" y="54"/>
                    <a:pt x="106" y="50"/>
                    <a:pt x="104" y="47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5" y="35"/>
                    <a:pt x="103" y="24"/>
                    <a:pt x="97" y="16"/>
                  </a:cubicBezTo>
                  <a:cubicBezTo>
                    <a:pt x="89" y="5"/>
                    <a:pt x="77" y="0"/>
                    <a:pt x="63" y="0"/>
                  </a:cubicBezTo>
                  <a:cubicBezTo>
                    <a:pt x="49" y="0"/>
                    <a:pt x="37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0" y="50"/>
                    <a:pt x="19" y="54"/>
                    <a:pt x="20" y="61"/>
                  </a:cubicBezTo>
                  <a:cubicBezTo>
                    <a:pt x="21" y="67"/>
                    <a:pt x="25" y="75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82"/>
                    <a:pt x="35" y="87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7" y="92"/>
                    <a:pt x="39" y="104"/>
                    <a:pt x="37" y="108"/>
                  </a:cubicBezTo>
                  <a:cubicBezTo>
                    <a:pt x="37" y="110"/>
                    <a:pt x="33" y="111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19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1"/>
                    <a:pt x="91" y="141"/>
                    <a:pt x="91" y="141"/>
                  </a:cubicBezTo>
                  <a:lnTo>
                    <a:pt x="8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7" name="Freeform 7">
              <a:extLst>
                <a:ext uri="{FF2B5EF4-FFF2-40B4-BE49-F238E27FC236}">
                  <a16:creationId xmlns:a16="http://schemas.microsoft.com/office/drawing/2014/main" id="{04362CE7-9276-F539-7446-4DEF45A2C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775201"/>
              <a:ext cx="107950" cy="11113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id="{5713A93F-4897-EBDC-7CCC-510DECE6C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18063"/>
              <a:ext cx="107950" cy="15875"/>
            </a:xfrm>
            <a:custGeom>
              <a:avLst/>
              <a:gdLst>
                <a:gd name="T0" fmla="*/ 32 w 34"/>
                <a:gd name="T1" fmla="*/ 0 h 5"/>
                <a:gd name="T2" fmla="*/ 2 w 34"/>
                <a:gd name="T3" fmla="*/ 0 h 5"/>
                <a:gd name="T4" fmla="*/ 0 w 34"/>
                <a:gd name="T5" fmla="*/ 3 h 5"/>
                <a:gd name="T6" fmla="*/ 2 w 34"/>
                <a:gd name="T7" fmla="*/ 5 h 5"/>
                <a:gd name="T8" fmla="*/ 32 w 34"/>
                <a:gd name="T9" fmla="*/ 5 h 5"/>
                <a:gd name="T10" fmla="*/ 34 w 34"/>
                <a:gd name="T11" fmla="*/ 3 h 5"/>
                <a:gd name="T12" fmla="*/ 32 w 3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3"/>
                  </a:cubicBezTo>
                  <a:cubicBezTo>
                    <a:pt x="0" y="4"/>
                    <a:pt x="0" y="5"/>
                    <a:pt x="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3" y="5"/>
                    <a:pt x="34" y="4"/>
                    <a:pt x="34" y="3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21949597-9CE8-AB22-A786-A39057110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65688"/>
              <a:ext cx="107950" cy="12700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0" name="Oval 10">
              <a:extLst>
                <a:ext uri="{FF2B5EF4-FFF2-40B4-BE49-F238E27FC236}">
                  <a16:creationId xmlns:a16="http://schemas.microsoft.com/office/drawing/2014/main" id="{35A6C10B-6A82-8AFC-82B0-0D7976A69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772026"/>
              <a:ext cx="19050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1" name="Oval 11">
              <a:extLst>
                <a:ext uri="{FF2B5EF4-FFF2-40B4-BE49-F238E27FC236}">
                  <a16:creationId xmlns:a16="http://schemas.microsoft.com/office/drawing/2014/main" id="{AE288D4F-D972-7991-E178-D7960F698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14888"/>
              <a:ext cx="19050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2" name="Oval 12">
              <a:extLst>
                <a:ext uri="{FF2B5EF4-FFF2-40B4-BE49-F238E27FC236}">
                  <a16:creationId xmlns:a16="http://schemas.microsoft.com/office/drawing/2014/main" id="{7B24FA4E-8D73-5591-4A1F-55E450C65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625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BB95E2FD-6F38-1182-5CE5-E3E14688A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363" y="4660901"/>
              <a:ext cx="190500" cy="274638"/>
            </a:xfrm>
            <a:custGeom>
              <a:avLst/>
              <a:gdLst>
                <a:gd name="T0" fmla="*/ 52 w 60"/>
                <a:gd name="T1" fmla="*/ 12 h 87"/>
                <a:gd name="T2" fmla="*/ 46 w 60"/>
                <a:gd name="T3" fmla="*/ 12 h 87"/>
                <a:gd name="T4" fmla="*/ 46 w 60"/>
                <a:gd name="T5" fmla="*/ 9 h 87"/>
                <a:gd name="T6" fmla="*/ 41 w 60"/>
                <a:gd name="T7" fmla="*/ 4 h 87"/>
                <a:gd name="T8" fmla="*/ 34 w 60"/>
                <a:gd name="T9" fmla="*/ 4 h 87"/>
                <a:gd name="T10" fmla="*/ 30 w 60"/>
                <a:gd name="T11" fmla="*/ 0 h 87"/>
                <a:gd name="T12" fmla="*/ 26 w 60"/>
                <a:gd name="T13" fmla="*/ 4 h 87"/>
                <a:gd name="T14" fmla="*/ 18 w 60"/>
                <a:gd name="T15" fmla="*/ 4 h 87"/>
                <a:gd name="T16" fmla="*/ 14 w 60"/>
                <a:gd name="T17" fmla="*/ 9 h 87"/>
                <a:gd name="T18" fmla="*/ 14 w 60"/>
                <a:gd name="T19" fmla="*/ 12 h 87"/>
                <a:gd name="T20" fmla="*/ 7 w 60"/>
                <a:gd name="T21" fmla="*/ 12 h 87"/>
                <a:gd name="T22" fmla="*/ 7 w 60"/>
                <a:gd name="T23" fmla="*/ 12 h 87"/>
                <a:gd name="T24" fmla="*/ 0 w 60"/>
                <a:gd name="T25" fmla="*/ 20 h 87"/>
                <a:gd name="T26" fmla="*/ 0 w 60"/>
                <a:gd name="T27" fmla="*/ 79 h 87"/>
                <a:gd name="T28" fmla="*/ 8 w 60"/>
                <a:gd name="T29" fmla="*/ 87 h 87"/>
                <a:gd name="T30" fmla="*/ 52 w 60"/>
                <a:gd name="T31" fmla="*/ 87 h 87"/>
                <a:gd name="T32" fmla="*/ 52 w 60"/>
                <a:gd name="T33" fmla="*/ 87 h 87"/>
                <a:gd name="T34" fmla="*/ 60 w 60"/>
                <a:gd name="T35" fmla="*/ 79 h 87"/>
                <a:gd name="T36" fmla="*/ 60 w 60"/>
                <a:gd name="T37" fmla="*/ 20 h 87"/>
                <a:gd name="T38" fmla="*/ 52 w 60"/>
                <a:gd name="T39" fmla="*/ 12 h 87"/>
                <a:gd name="T40" fmla="*/ 18 w 60"/>
                <a:gd name="T41" fmla="*/ 9 h 87"/>
                <a:gd name="T42" fmla="*/ 41 w 60"/>
                <a:gd name="T43" fmla="*/ 9 h 87"/>
                <a:gd name="T44" fmla="*/ 41 w 60"/>
                <a:gd name="T45" fmla="*/ 16 h 87"/>
                <a:gd name="T46" fmla="*/ 18 w 60"/>
                <a:gd name="T47" fmla="*/ 16 h 87"/>
                <a:gd name="T48" fmla="*/ 18 w 60"/>
                <a:gd name="T49" fmla="*/ 9 h 87"/>
                <a:gd name="T50" fmla="*/ 55 w 60"/>
                <a:gd name="T51" fmla="*/ 79 h 87"/>
                <a:gd name="T52" fmla="*/ 52 w 60"/>
                <a:gd name="T53" fmla="*/ 82 h 87"/>
                <a:gd name="T54" fmla="*/ 8 w 60"/>
                <a:gd name="T55" fmla="*/ 82 h 87"/>
                <a:gd name="T56" fmla="*/ 5 w 60"/>
                <a:gd name="T57" fmla="*/ 79 h 87"/>
                <a:gd name="T58" fmla="*/ 5 w 60"/>
                <a:gd name="T59" fmla="*/ 20 h 87"/>
                <a:gd name="T60" fmla="*/ 8 w 60"/>
                <a:gd name="T61" fmla="*/ 16 h 87"/>
                <a:gd name="T62" fmla="*/ 14 w 60"/>
                <a:gd name="T63" fmla="*/ 16 h 87"/>
                <a:gd name="T64" fmla="*/ 18 w 60"/>
                <a:gd name="T65" fmla="*/ 21 h 87"/>
                <a:gd name="T66" fmla="*/ 41 w 60"/>
                <a:gd name="T67" fmla="*/ 21 h 87"/>
                <a:gd name="T68" fmla="*/ 46 w 60"/>
                <a:gd name="T69" fmla="*/ 16 h 87"/>
                <a:gd name="T70" fmla="*/ 52 w 60"/>
                <a:gd name="T71" fmla="*/ 16 h 87"/>
                <a:gd name="T72" fmla="*/ 55 w 60"/>
                <a:gd name="T73" fmla="*/ 20 h 87"/>
                <a:gd name="T74" fmla="*/ 55 w 60"/>
                <a:gd name="T75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87">
                  <a:moveTo>
                    <a:pt x="52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6"/>
                    <a:pt x="44" y="4"/>
                    <a:pt x="41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6" y="2"/>
                    <a:pt x="2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4" y="6"/>
                    <a:pt x="14" y="9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6"/>
                    <a:pt x="0" y="2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3" y="87"/>
                    <a:pt x="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6" y="87"/>
                    <a:pt x="60" y="83"/>
                    <a:pt x="60" y="7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6"/>
                    <a:pt x="56" y="12"/>
                    <a:pt x="52" y="12"/>
                  </a:cubicBezTo>
                  <a:close/>
                  <a:moveTo>
                    <a:pt x="18" y="9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18" y="16"/>
                    <a:pt x="18" y="16"/>
                    <a:pt x="18" y="16"/>
                  </a:cubicBezTo>
                  <a:lnTo>
                    <a:pt x="18" y="9"/>
                  </a:lnTo>
                  <a:close/>
                  <a:moveTo>
                    <a:pt x="55" y="79"/>
                  </a:moveTo>
                  <a:cubicBezTo>
                    <a:pt x="55" y="81"/>
                    <a:pt x="54" y="82"/>
                    <a:pt x="52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6" y="82"/>
                    <a:pt x="5" y="81"/>
                    <a:pt x="5" y="7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8"/>
                    <a:pt x="6" y="16"/>
                    <a:pt x="8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9"/>
                    <a:pt x="16" y="21"/>
                    <a:pt x="18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4" y="21"/>
                    <a:pt x="46" y="19"/>
                    <a:pt x="46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4" y="16"/>
                    <a:pt x="55" y="18"/>
                    <a:pt x="55" y="20"/>
                  </a:cubicBezTo>
                  <a:lnTo>
                    <a:pt x="5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2EFDEEAA-4246-7A5A-18FF-E5C6106B9CAE}"/>
              </a:ext>
            </a:extLst>
          </p:cNvPr>
          <p:cNvSpPr/>
          <p:nvPr/>
        </p:nvSpPr>
        <p:spPr>
          <a:xfrm>
            <a:off x="8531744" y="6222927"/>
            <a:ext cx="1731607" cy="335205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AU" sz="850" dirty="0">
                <a:solidFill>
                  <a:schemeClr val="accent6"/>
                </a:solidFill>
                <a:cs typeface="Segoe UI Semilight" panose="020B0402040204020203" pitchFamily="34" charset="0"/>
              </a:rPr>
              <a:t>Planner issues RFI if an external authority requested further info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F3841327-5832-78C1-34FA-57785CAC6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70024" y="6656932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4479D95-3BBB-6227-20B9-A140F5FAB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078855" y="6749990"/>
            <a:ext cx="212949" cy="234313"/>
            <a:chOff x="7299325" y="4395788"/>
            <a:chExt cx="490538" cy="539751"/>
          </a:xfrm>
          <a:solidFill>
            <a:srgbClr val="FFFFFF"/>
          </a:solidFill>
        </p:grpSpPr>
        <p:sp>
          <p:nvSpPr>
            <p:cNvPr id="116" name="Freeform 6">
              <a:extLst>
                <a:ext uri="{FF2B5EF4-FFF2-40B4-BE49-F238E27FC236}">
                  <a16:creationId xmlns:a16="http://schemas.microsoft.com/office/drawing/2014/main" id="{39E5D8D3-CE87-AB0E-5AE3-52D6B9430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4395788"/>
              <a:ext cx="338138" cy="466725"/>
            </a:xfrm>
            <a:custGeom>
              <a:avLst/>
              <a:gdLst>
                <a:gd name="T0" fmla="*/ 8 w 107"/>
                <a:gd name="T1" fmla="*/ 141 h 148"/>
                <a:gd name="T2" fmla="*/ 8 w 107"/>
                <a:gd name="T3" fmla="*/ 141 h 148"/>
                <a:gd name="T4" fmla="*/ 32 w 107"/>
                <a:gd name="T5" fmla="*/ 119 h 148"/>
                <a:gd name="T6" fmla="*/ 32 w 107"/>
                <a:gd name="T7" fmla="*/ 119 h 148"/>
                <a:gd name="T8" fmla="*/ 43 w 107"/>
                <a:gd name="T9" fmla="*/ 111 h 148"/>
                <a:gd name="T10" fmla="*/ 43 w 107"/>
                <a:gd name="T11" fmla="*/ 89 h 148"/>
                <a:gd name="T12" fmla="*/ 43 w 107"/>
                <a:gd name="T13" fmla="*/ 88 h 148"/>
                <a:gd name="T14" fmla="*/ 36 w 107"/>
                <a:gd name="T15" fmla="*/ 73 h 148"/>
                <a:gd name="T16" fmla="*/ 33 w 107"/>
                <a:gd name="T17" fmla="*/ 70 h 148"/>
                <a:gd name="T18" fmla="*/ 27 w 107"/>
                <a:gd name="T19" fmla="*/ 60 h 148"/>
                <a:gd name="T20" fmla="*/ 27 w 107"/>
                <a:gd name="T21" fmla="*/ 51 h 148"/>
                <a:gd name="T22" fmla="*/ 27 w 107"/>
                <a:gd name="T23" fmla="*/ 51 h 148"/>
                <a:gd name="T24" fmla="*/ 30 w 107"/>
                <a:gd name="T25" fmla="*/ 50 h 148"/>
                <a:gd name="T26" fmla="*/ 31 w 107"/>
                <a:gd name="T27" fmla="*/ 47 h 148"/>
                <a:gd name="T28" fmla="*/ 35 w 107"/>
                <a:gd name="T29" fmla="*/ 20 h 148"/>
                <a:gd name="T30" fmla="*/ 63 w 107"/>
                <a:gd name="T31" fmla="*/ 6 h 148"/>
                <a:gd name="T32" fmla="*/ 91 w 107"/>
                <a:gd name="T33" fmla="*/ 20 h 148"/>
                <a:gd name="T34" fmla="*/ 95 w 107"/>
                <a:gd name="T35" fmla="*/ 47 h 148"/>
                <a:gd name="T36" fmla="*/ 96 w 107"/>
                <a:gd name="T37" fmla="*/ 50 h 148"/>
                <a:gd name="T38" fmla="*/ 98 w 107"/>
                <a:gd name="T39" fmla="*/ 51 h 148"/>
                <a:gd name="T40" fmla="*/ 99 w 107"/>
                <a:gd name="T41" fmla="*/ 51 h 148"/>
                <a:gd name="T42" fmla="*/ 99 w 107"/>
                <a:gd name="T43" fmla="*/ 60 h 148"/>
                <a:gd name="T44" fmla="*/ 93 w 107"/>
                <a:gd name="T45" fmla="*/ 70 h 148"/>
                <a:gd name="T46" fmla="*/ 90 w 107"/>
                <a:gd name="T47" fmla="*/ 73 h 148"/>
                <a:gd name="T48" fmla="*/ 83 w 107"/>
                <a:gd name="T49" fmla="*/ 88 h 148"/>
                <a:gd name="T50" fmla="*/ 83 w 107"/>
                <a:gd name="T51" fmla="*/ 89 h 148"/>
                <a:gd name="T52" fmla="*/ 83 w 107"/>
                <a:gd name="T53" fmla="*/ 111 h 148"/>
                <a:gd name="T54" fmla="*/ 91 w 107"/>
                <a:gd name="T55" fmla="*/ 118 h 148"/>
                <a:gd name="T56" fmla="*/ 91 w 107"/>
                <a:gd name="T57" fmla="*/ 111 h 148"/>
                <a:gd name="T58" fmla="*/ 89 w 107"/>
                <a:gd name="T59" fmla="*/ 108 h 148"/>
                <a:gd name="T60" fmla="*/ 89 w 107"/>
                <a:gd name="T61" fmla="*/ 91 h 148"/>
                <a:gd name="T62" fmla="*/ 89 w 107"/>
                <a:gd name="T63" fmla="*/ 91 h 148"/>
                <a:gd name="T64" fmla="*/ 95 w 107"/>
                <a:gd name="T65" fmla="*/ 77 h 148"/>
                <a:gd name="T66" fmla="*/ 95 w 107"/>
                <a:gd name="T67" fmla="*/ 77 h 148"/>
                <a:gd name="T68" fmla="*/ 106 w 107"/>
                <a:gd name="T69" fmla="*/ 61 h 148"/>
                <a:gd name="T70" fmla="*/ 104 w 107"/>
                <a:gd name="T71" fmla="*/ 47 h 148"/>
                <a:gd name="T72" fmla="*/ 103 w 107"/>
                <a:gd name="T73" fmla="*/ 46 h 148"/>
                <a:gd name="T74" fmla="*/ 103 w 107"/>
                <a:gd name="T75" fmla="*/ 46 h 148"/>
                <a:gd name="T76" fmla="*/ 103 w 107"/>
                <a:gd name="T77" fmla="*/ 45 h 148"/>
                <a:gd name="T78" fmla="*/ 97 w 107"/>
                <a:gd name="T79" fmla="*/ 16 h 148"/>
                <a:gd name="T80" fmla="*/ 63 w 107"/>
                <a:gd name="T81" fmla="*/ 0 h 148"/>
                <a:gd name="T82" fmla="*/ 29 w 107"/>
                <a:gd name="T83" fmla="*/ 16 h 148"/>
                <a:gd name="T84" fmla="*/ 23 w 107"/>
                <a:gd name="T85" fmla="*/ 45 h 148"/>
                <a:gd name="T86" fmla="*/ 23 w 107"/>
                <a:gd name="T87" fmla="*/ 46 h 148"/>
                <a:gd name="T88" fmla="*/ 23 w 107"/>
                <a:gd name="T89" fmla="*/ 46 h 148"/>
                <a:gd name="T90" fmla="*/ 22 w 107"/>
                <a:gd name="T91" fmla="*/ 47 h 148"/>
                <a:gd name="T92" fmla="*/ 20 w 107"/>
                <a:gd name="T93" fmla="*/ 61 h 148"/>
                <a:gd name="T94" fmla="*/ 31 w 107"/>
                <a:gd name="T95" fmla="*/ 77 h 148"/>
                <a:gd name="T96" fmla="*/ 31 w 107"/>
                <a:gd name="T97" fmla="*/ 77 h 148"/>
                <a:gd name="T98" fmla="*/ 37 w 107"/>
                <a:gd name="T99" fmla="*/ 91 h 148"/>
                <a:gd name="T100" fmla="*/ 37 w 107"/>
                <a:gd name="T101" fmla="*/ 91 h 148"/>
                <a:gd name="T102" fmla="*/ 37 w 107"/>
                <a:gd name="T103" fmla="*/ 108 h 148"/>
                <a:gd name="T104" fmla="*/ 29 w 107"/>
                <a:gd name="T105" fmla="*/ 113 h 148"/>
                <a:gd name="T106" fmla="*/ 29 w 107"/>
                <a:gd name="T107" fmla="*/ 113 h 148"/>
                <a:gd name="T108" fmla="*/ 0 w 107"/>
                <a:gd name="T109" fmla="*/ 144 h 148"/>
                <a:gd name="T110" fmla="*/ 4 w 107"/>
                <a:gd name="T111" fmla="*/ 148 h 148"/>
                <a:gd name="T112" fmla="*/ 91 w 107"/>
                <a:gd name="T113" fmla="*/ 148 h 148"/>
                <a:gd name="T114" fmla="*/ 91 w 107"/>
                <a:gd name="T115" fmla="*/ 141 h 148"/>
                <a:gd name="T116" fmla="*/ 8 w 107"/>
                <a:gd name="T117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48">
                  <a:moveTo>
                    <a:pt x="8" y="14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10" y="131"/>
                    <a:pt x="18" y="123"/>
                    <a:pt x="32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8" y="117"/>
                    <a:pt x="42" y="115"/>
                    <a:pt x="43" y="111"/>
                  </a:cubicBezTo>
                  <a:cubicBezTo>
                    <a:pt x="46" y="104"/>
                    <a:pt x="44" y="92"/>
                    <a:pt x="43" y="89"/>
                  </a:cubicBezTo>
                  <a:cubicBezTo>
                    <a:pt x="43" y="89"/>
                    <a:pt x="43" y="89"/>
                    <a:pt x="43" y="88"/>
                  </a:cubicBezTo>
                  <a:cubicBezTo>
                    <a:pt x="40" y="84"/>
                    <a:pt x="38" y="79"/>
                    <a:pt x="36" y="73"/>
                  </a:cubicBezTo>
                  <a:cubicBezTo>
                    <a:pt x="36" y="71"/>
                    <a:pt x="35" y="70"/>
                    <a:pt x="33" y="70"/>
                  </a:cubicBezTo>
                  <a:cubicBezTo>
                    <a:pt x="31" y="70"/>
                    <a:pt x="28" y="66"/>
                    <a:pt x="27" y="60"/>
                  </a:cubicBezTo>
                  <a:cubicBezTo>
                    <a:pt x="26" y="53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9" y="51"/>
                    <a:pt x="30" y="51"/>
                    <a:pt x="30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28" y="37"/>
                    <a:pt x="29" y="27"/>
                    <a:pt x="35" y="20"/>
                  </a:cubicBezTo>
                  <a:cubicBezTo>
                    <a:pt x="41" y="11"/>
                    <a:pt x="51" y="6"/>
                    <a:pt x="63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7" y="27"/>
                    <a:pt x="98" y="37"/>
                    <a:pt x="95" y="47"/>
                  </a:cubicBezTo>
                  <a:cubicBezTo>
                    <a:pt x="95" y="48"/>
                    <a:pt x="95" y="49"/>
                    <a:pt x="96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5" y="70"/>
                    <a:pt x="93" y="70"/>
                  </a:cubicBezTo>
                  <a:cubicBezTo>
                    <a:pt x="91" y="70"/>
                    <a:pt x="90" y="71"/>
                    <a:pt x="90" y="73"/>
                  </a:cubicBezTo>
                  <a:cubicBezTo>
                    <a:pt x="88" y="79"/>
                    <a:pt x="86" y="84"/>
                    <a:pt x="83" y="88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92"/>
                    <a:pt x="80" y="104"/>
                    <a:pt x="83" y="111"/>
                  </a:cubicBezTo>
                  <a:cubicBezTo>
                    <a:pt x="84" y="114"/>
                    <a:pt x="86" y="116"/>
                    <a:pt x="91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9" y="110"/>
                    <a:pt x="89" y="109"/>
                    <a:pt x="89" y="108"/>
                  </a:cubicBezTo>
                  <a:cubicBezTo>
                    <a:pt x="87" y="105"/>
                    <a:pt x="88" y="96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1" y="87"/>
                    <a:pt x="94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5" y="67"/>
                    <a:pt x="106" y="61"/>
                  </a:cubicBezTo>
                  <a:cubicBezTo>
                    <a:pt x="107" y="54"/>
                    <a:pt x="106" y="50"/>
                    <a:pt x="104" y="47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5" y="35"/>
                    <a:pt x="103" y="24"/>
                    <a:pt x="97" y="16"/>
                  </a:cubicBezTo>
                  <a:cubicBezTo>
                    <a:pt x="89" y="5"/>
                    <a:pt x="77" y="0"/>
                    <a:pt x="63" y="0"/>
                  </a:cubicBezTo>
                  <a:cubicBezTo>
                    <a:pt x="49" y="0"/>
                    <a:pt x="37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0" y="50"/>
                    <a:pt x="19" y="54"/>
                    <a:pt x="20" y="61"/>
                  </a:cubicBezTo>
                  <a:cubicBezTo>
                    <a:pt x="21" y="67"/>
                    <a:pt x="25" y="75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82"/>
                    <a:pt x="35" y="87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7" y="92"/>
                    <a:pt x="39" y="104"/>
                    <a:pt x="37" y="108"/>
                  </a:cubicBezTo>
                  <a:cubicBezTo>
                    <a:pt x="37" y="110"/>
                    <a:pt x="33" y="111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19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1"/>
                    <a:pt x="91" y="141"/>
                    <a:pt x="91" y="141"/>
                  </a:cubicBezTo>
                  <a:lnTo>
                    <a:pt x="8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7" name="Freeform 7">
              <a:extLst>
                <a:ext uri="{FF2B5EF4-FFF2-40B4-BE49-F238E27FC236}">
                  <a16:creationId xmlns:a16="http://schemas.microsoft.com/office/drawing/2014/main" id="{1C0130E9-2E41-FC8D-CBF2-D9303859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775201"/>
              <a:ext cx="107950" cy="11113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8" name="Freeform 8">
              <a:extLst>
                <a:ext uri="{FF2B5EF4-FFF2-40B4-BE49-F238E27FC236}">
                  <a16:creationId xmlns:a16="http://schemas.microsoft.com/office/drawing/2014/main" id="{0AB0F672-A423-8D75-51BA-A573982F3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18063"/>
              <a:ext cx="107950" cy="15875"/>
            </a:xfrm>
            <a:custGeom>
              <a:avLst/>
              <a:gdLst>
                <a:gd name="T0" fmla="*/ 32 w 34"/>
                <a:gd name="T1" fmla="*/ 0 h 5"/>
                <a:gd name="T2" fmla="*/ 2 w 34"/>
                <a:gd name="T3" fmla="*/ 0 h 5"/>
                <a:gd name="T4" fmla="*/ 0 w 34"/>
                <a:gd name="T5" fmla="*/ 3 h 5"/>
                <a:gd name="T6" fmla="*/ 2 w 34"/>
                <a:gd name="T7" fmla="*/ 5 h 5"/>
                <a:gd name="T8" fmla="*/ 32 w 34"/>
                <a:gd name="T9" fmla="*/ 5 h 5"/>
                <a:gd name="T10" fmla="*/ 34 w 34"/>
                <a:gd name="T11" fmla="*/ 3 h 5"/>
                <a:gd name="T12" fmla="*/ 32 w 3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3"/>
                  </a:cubicBezTo>
                  <a:cubicBezTo>
                    <a:pt x="0" y="4"/>
                    <a:pt x="0" y="5"/>
                    <a:pt x="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3" y="5"/>
                    <a:pt x="34" y="4"/>
                    <a:pt x="34" y="3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9" name="Freeform 9">
              <a:extLst>
                <a:ext uri="{FF2B5EF4-FFF2-40B4-BE49-F238E27FC236}">
                  <a16:creationId xmlns:a16="http://schemas.microsoft.com/office/drawing/2014/main" id="{24C515C7-4265-89B4-3579-357408A7E2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65688"/>
              <a:ext cx="107950" cy="12700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0" name="Oval 10">
              <a:extLst>
                <a:ext uri="{FF2B5EF4-FFF2-40B4-BE49-F238E27FC236}">
                  <a16:creationId xmlns:a16="http://schemas.microsoft.com/office/drawing/2014/main" id="{4E7E9F0F-C0B0-7D43-E6B7-AD12CDD66E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772026"/>
              <a:ext cx="19050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1" name="Oval 11">
              <a:extLst>
                <a:ext uri="{FF2B5EF4-FFF2-40B4-BE49-F238E27FC236}">
                  <a16:creationId xmlns:a16="http://schemas.microsoft.com/office/drawing/2014/main" id="{412EE595-987F-85BE-99EB-12F392B9B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14888"/>
              <a:ext cx="19050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2" name="Oval 12">
              <a:extLst>
                <a:ext uri="{FF2B5EF4-FFF2-40B4-BE49-F238E27FC236}">
                  <a16:creationId xmlns:a16="http://schemas.microsoft.com/office/drawing/2014/main" id="{E0979FFB-E05D-403E-04B4-778C609CC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625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3" name="Freeform 13">
              <a:extLst>
                <a:ext uri="{FF2B5EF4-FFF2-40B4-BE49-F238E27FC236}">
                  <a16:creationId xmlns:a16="http://schemas.microsoft.com/office/drawing/2014/main" id="{526B349A-6493-D08F-1934-64621EFFF4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363" y="4660901"/>
              <a:ext cx="190500" cy="274638"/>
            </a:xfrm>
            <a:custGeom>
              <a:avLst/>
              <a:gdLst>
                <a:gd name="T0" fmla="*/ 52 w 60"/>
                <a:gd name="T1" fmla="*/ 12 h 87"/>
                <a:gd name="T2" fmla="*/ 46 w 60"/>
                <a:gd name="T3" fmla="*/ 12 h 87"/>
                <a:gd name="T4" fmla="*/ 46 w 60"/>
                <a:gd name="T5" fmla="*/ 9 h 87"/>
                <a:gd name="T6" fmla="*/ 41 w 60"/>
                <a:gd name="T7" fmla="*/ 4 h 87"/>
                <a:gd name="T8" fmla="*/ 34 w 60"/>
                <a:gd name="T9" fmla="*/ 4 h 87"/>
                <a:gd name="T10" fmla="*/ 30 w 60"/>
                <a:gd name="T11" fmla="*/ 0 h 87"/>
                <a:gd name="T12" fmla="*/ 26 w 60"/>
                <a:gd name="T13" fmla="*/ 4 h 87"/>
                <a:gd name="T14" fmla="*/ 18 w 60"/>
                <a:gd name="T15" fmla="*/ 4 h 87"/>
                <a:gd name="T16" fmla="*/ 14 w 60"/>
                <a:gd name="T17" fmla="*/ 9 h 87"/>
                <a:gd name="T18" fmla="*/ 14 w 60"/>
                <a:gd name="T19" fmla="*/ 12 h 87"/>
                <a:gd name="T20" fmla="*/ 7 w 60"/>
                <a:gd name="T21" fmla="*/ 12 h 87"/>
                <a:gd name="T22" fmla="*/ 7 w 60"/>
                <a:gd name="T23" fmla="*/ 12 h 87"/>
                <a:gd name="T24" fmla="*/ 0 w 60"/>
                <a:gd name="T25" fmla="*/ 20 h 87"/>
                <a:gd name="T26" fmla="*/ 0 w 60"/>
                <a:gd name="T27" fmla="*/ 79 h 87"/>
                <a:gd name="T28" fmla="*/ 8 w 60"/>
                <a:gd name="T29" fmla="*/ 87 h 87"/>
                <a:gd name="T30" fmla="*/ 52 w 60"/>
                <a:gd name="T31" fmla="*/ 87 h 87"/>
                <a:gd name="T32" fmla="*/ 52 w 60"/>
                <a:gd name="T33" fmla="*/ 87 h 87"/>
                <a:gd name="T34" fmla="*/ 60 w 60"/>
                <a:gd name="T35" fmla="*/ 79 h 87"/>
                <a:gd name="T36" fmla="*/ 60 w 60"/>
                <a:gd name="T37" fmla="*/ 20 h 87"/>
                <a:gd name="T38" fmla="*/ 52 w 60"/>
                <a:gd name="T39" fmla="*/ 12 h 87"/>
                <a:gd name="T40" fmla="*/ 18 w 60"/>
                <a:gd name="T41" fmla="*/ 9 h 87"/>
                <a:gd name="T42" fmla="*/ 41 w 60"/>
                <a:gd name="T43" fmla="*/ 9 h 87"/>
                <a:gd name="T44" fmla="*/ 41 w 60"/>
                <a:gd name="T45" fmla="*/ 16 h 87"/>
                <a:gd name="T46" fmla="*/ 18 w 60"/>
                <a:gd name="T47" fmla="*/ 16 h 87"/>
                <a:gd name="T48" fmla="*/ 18 w 60"/>
                <a:gd name="T49" fmla="*/ 9 h 87"/>
                <a:gd name="T50" fmla="*/ 55 w 60"/>
                <a:gd name="T51" fmla="*/ 79 h 87"/>
                <a:gd name="T52" fmla="*/ 52 w 60"/>
                <a:gd name="T53" fmla="*/ 82 h 87"/>
                <a:gd name="T54" fmla="*/ 8 w 60"/>
                <a:gd name="T55" fmla="*/ 82 h 87"/>
                <a:gd name="T56" fmla="*/ 5 w 60"/>
                <a:gd name="T57" fmla="*/ 79 h 87"/>
                <a:gd name="T58" fmla="*/ 5 w 60"/>
                <a:gd name="T59" fmla="*/ 20 h 87"/>
                <a:gd name="T60" fmla="*/ 8 w 60"/>
                <a:gd name="T61" fmla="*/ 16 h 87"/>
                <a:gd name="T62" fmla="*/ 14 w 60"/>
                <a:gd name="T63" fmla="*/ 16 h 87"/>
                <a:gd name="T64" fmla="*/ 18 w 60"/>
                <a:gd name="T65" fmla="*/ 21 h 87"/>
                <a:gd name="T66" fmla="*/ 41 w 60"/>
                <a:gd name="T67" fmla="*/ 21 h 87"/>
                <a:gd name="T68" fmla="*/ 46 w 60"/>
                <a:gd name="T69" fmla="*/ 16 h 87"/>
                <a:gd name="T70" fmla="*/ 52 w 60"/>
                <a:gd name="T71" fmla="*/ 16 h 87"/>
                <a:gd name="T72" fmla="*/ 55 w 60"/>
                <a:gd name="T73" fmla="*/ 20 h 87"/>
                <a:gd name="T74" fmla="*/ 55 w 60"/>
                <a:gd name="T75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87">
                  <a:moveTo>
                    <a:pt x="52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6"/>
                    <a:pt x="44" y="4"/>
                    <a:pt x="41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6" y="2"/>
                    <a:pt x="2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4" y="6"/>
                    <a:pt x="14" y="9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6"/>
                    <a:pt x="0" y="2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3" y="87"/>
                    <a:pt x="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6" y="87"/>
                    <a:pt x="60" y="83"/>
                    <a:pt x="60" y="7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6"/>
                    <a:pt x="56" y="12"/>
                    <a:pt x="52" y="12"/>
                  </a:cubicBezTo>
                  <a:close/>
                  <a:moveTo>
                    <a:pt x="18" y="9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18" y="16"/>
                    <a:pt x="18" y="16"/>
                    <a:pt x="18" y="16"/>
                  </a:cubicBezTo>
                  <a:lnTo>
                    <a:pt x="18" y="9"/>
                  </a:lnTo>
                  <a:close/>
                  <a:moveTo>
                    <a:pt x="55" y="79"/>
                  </a:moveTo>
                  <a:cubicBezTo>
                    <a:pt x="55" y="81"/>
                    <a:pt x="54" y="82"/>
                    <a:pt x="52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6" y="82"/>
                    <a:pt x="5" y="81"/>
                    <a:pt x="5" y="7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8"/>
                    <a:pt x="6" y="16"/>
                    <a:pt x="8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9"/>
                    <a:pt x="16" y="21"/>
                    <a:pt x="18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4" y="21"/>
                    <a:pt x="46" y="19"/>
                    <a:pt x="46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4" y="16"/>
                    <a:pt x="55" y="18"/>
                    <a:pt x="55" y="20"/>
                  </a:cubicBezTo>
                  <a:lnTo>
                    <a:pt x="5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FB1B5804-0078-A6DA-1643-A7884C6F04A9}"/>
              </a:ext>
            </a:extLst>
          </p:cNvPr>
          <p:cNvSpPr/>
          <p:nvPr/>
        </p:nvSpPr>
        <p:spPr>
          <a:xfrm>
            <a:off x="8531744" y="6665399"/>
            <a:ext cx="1824368" cy="432000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AU" sz="850" dirty="0">
                <a:solidFill>
                  <a:schemeClr val="accent6"/>
                </a:solidFill>
                <a:cs typeface="Segoe UI Semilight" panose="020B0402040204020203" pitchFamily="34" charset="0"/>
              </a:rPr>
              <a:t>Planner Acknowledges they received RFI response and they will continue assessment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244AA61-6FE0-A4D4-984B-F9E3B3F282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1532329" y="5982578"/>
            <a:ext cx="212949" cy="234313"/>
            <a:chOff x="7299325" y="4395788"/>
            <a:chExt cx="490538" cy="539751"/>
          </a:xfrm>
          <a:solidFill>
            <a:srgbClr val="FFFFFF"/>
          </a:solidFill>
        </p:grpSpPr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503A97CA-15E4-9805-48ED-B55BAA34C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4395788"/>
              <a:ext cx="338138" cy="466725"/>
            </a:xfrm>
            <a:custGeom>
              <a:avLst/>
              <a:gdLst>
                <a:gd name="T0" fmla="*/ 8 w 107"/>
                <a:gd name="T1" fmla="*/ 141 h 148"/>
                <a:gd name="T2" fmla="*/ 8 w 107"/>
                <a:gd name="T3" fmla="*/ 141 h 148"/>
                <a:gd name="T4" fmla="*/ 32 w 107"/>
                <a:gd name="T5" fmla="*/ 119 h 148"/>
                <a:gd name="T6" fmla="*/ 32 w 107"/>
                <a:gd name="T7" fmla="*/ 119 h 148"/>
                <a:gd name="T8" fmla="*/ 43 w 107"/>
                <a:gd name="T9" fmla="*/ 111 h 148"/>
                <a:gd name="T10" fmla="*/ 43 w 107"/>
                <a:gd name="T11" fmla="*/ 89 h 148"/>
                <a:gd name="T12" fmla="*/ 43 w 107"/>
                <a:gd name="T13" fmla="*/ 88 h 148"/>
                <a:gd name="T14" fmla="*/ 36 w 107"/>
                <a:gd name="T15" fmla="*/ 73 h 148"/>
                <a:gd name="T16" fmla="*/ 33 w 107"/>
                <a:gd name="T17" fmla="*/ 70 h 148"/>
                <a:gd name="T18" fmla="*/ 27 w 107"/>
                <a:gd name="T19" fmla="*/ 60 h 148"/>
                <a:gd name="T20" fmla="*/ 27 w 107"/>
                <a:gd name="T21" fmla="*/ 51 h 148"/>
                <a:gd name="T22" fmla="*/ 27 w 107"/>
                <a:gd name="T23" fmla="*/ 51 h 148"/>
                <a:gd name="T24" fmla="*/ 30 w 107"/>
                <a:gd name="T25" fmla="*/ 50 h 148"/>
                <a:gd name="T26" fmla="*/ 31 w 107"/>
                <a:gd name="T27" fmla="*/ 47 h 148"/>
                <a:gd name="T28" fmla="*/ 35 w 107"/>
                <a:gd name="T29" fmla="*/ 20 h 148"/>
                <a:gd name="T30" fmla="*/ 63 w 107"/>
                <a:gd name="T31" fmla="*/ 6 h 148"/>
                <a:gd name="T32" fmla="*/ 91 w 107"/>
                <a:gd name="T33" fmla="*/ 20 h 148"/>
                <a:gd name="T34" fmla="*/ 95 w 107"/>
                <a:gd name="T35" fmla="*/ 47 h 148"/>
                <a:gd name="T36" fmla="*/ 96 w 107"/>
                <a:gd name="T37" fmla="*/ 50 h 148"/>
                <a:gd name="T38" fmla="*/ 98 w 107"/>
                <a:gd name="T39" fmla="*/ 51 h 148"/>
                <a:gd name="T40" fmla="*/ 99 w 107"/>
                <a:gd name="T41" fmla="*/ 51 h 148"/>
                <a:gd name="T42" fmla="*/ 99 w 107"/>
                <a:gd name="T43" fmla="*/ 60 h 148"/>
                <a:gd name="T44" fmla="*/ 93 w 107"/>
                <a:gd name="T45" fmla="*/ 70 h 148"/>
                <a:gd name="T46" fmla="*/ 90 w 107"/>
                <a:gd name="T47" fmla="*/ 73 h 148"/>
                <a:gd name="T48" fmla="*/ 83 w 107"/>
                <a:gd name="T49" fmla="*/ 88 h 148"/>
                <a:gd name="T50" fmla="*/ 83 w 107"/>
                <a:gd name="T51" fmla="*/ 89 h 148"/>
                <a:gd name="T52" fmla="*/ 83 w 107"/>
                <a:gd name="T53" fmla="*/ 111 h 148"/>
                <a:gd name="T54" fmla="*/ 91 w 107"/>
                <a:gd name="T55" fmla="*/ 118 h 148"/>
                <a:gd name="T56" fmla="*/ 91 w 107"/>
                <a:gd name="T57" fmla="*/ 111 h 148"/>
                <a:gd name="T58" fmla="*/ 89 w 107"/>
                <a:gd name="T59" fmla="*/ 108 h 148"/>
                <a:gd name="T60" fmla="*/ 89 w 107"/>
                <a:gd name="T61" fmla="*/ 91 h 148"/>
                <a:gd name="T62" fmla="*/ 89 w 107"/>
                <a:gd name="T63" fmla="*/ 91 h 148"/>
                <a:gd name="T64" fmla="*/ 95 w 107"/>
                <a:gd name="T65" fmla="*/ 77 h 148"/>
                <a:gd name="T66" fmla="*/ 95 w 107"/>
                <a:gd name="T67" fmla="*/ 77 h 148"/>
                <a:gd name="T68" fmla="*/ 106 w 107"/>
                <a:gd name="T69" fmla="*/ 61 h 148"/>
                <a:gd name="T70" fmla="*/ 104 w 107"/>
                <a:gd name="T71" fmla="*/ 47 h 148"/>
                <a:gd name="T72" fmla="*/ 103 w 107"/>
                <a:gd name="T73" fmla="*/ 46 h 148"/>
                <a:gd name="T74" fmla="*/ 103 w 107"/>
                <a:gd name="T75" fmla="*/ 46 h 148"/>
                <a:gd name="T76" fmla="*/ 103 w 107"/>
                <a:gd name="T77" fmla="*/ 45 h 148"/>
                <a:gd name="T78" fmla="*/ 97 w 107"/>
                <a:gd name="T79" fmla="*/ 16 h 148"/>
                <a:gd name="T80" fmla="*/ 63 w 107"/>
                <a:gd name="T81" fmla="*/ 0 h 148"/>
                <a:gd name="T82" fmla="*/ 29 w 107"/>
                <a:gd name="T83" fmla="*/ 16 h 148"/>
                <a:gd name="T84" fmla="*/ 23 w 107"/>
                <a:gd name="T85" fmla="*/ 45 h 148"/>
                <a:gd name="T86" fmla="*/ 23 w 107"/>
                <a:gd name="T87" fmla="*/ 46 h 148"/>
                <a:gd name="T88" fmla="*/ 23 w 107"/>
                <a:gd name="T89" fmla="*/ 46 h 148"/>
                <a:gd name="T90" fmla="*/ 22 w 107"/>
                <a:gd name="T91" fmla="*/ 47 h 148"/>
                <a:gd name="T92" fmla="*/ 20 w 107"/>
                <a:gd name="T93" fmla="*/ 61 h 148"/>
                <a:gd name="T94" fmla="*/ 31 w 107"/>
                <a:gd name="T95" fmla="*/ 77 h 148"/>
                <a:gd name="T96" fmla="*/ 31 w 107"/>
                <a:gd name="T97" fmla="*/ 77 h 148"/>
                <a:gd name="T98" fmla="*/ 37 w 107"/>
                <a:gd name="T99" fmla="*/ 91 h 148"/>
                <a:gd name="T100" fmla="*/ 37 w 107"/>
                <a:gd name="T101" fmla="*/ 91 h 148"/>
                <a:gd name="T102" fmla="*/ 37 w 107"/>
                <a:gd name="T103" fmla="*/ 108 h 148"/>
                <a:gd name="T104" fmla="*/ 29 w 107"/>
                <a:gd name="T105" fmla="*/ 113 h 148"/>
                <a:gd name="T106" fmla="*/ 29 w 107"/>
                <a:gd name="T107" fmla="*/ 113 h 148"/>
                <a:gd name="T108" fmla="*/ 0 w 107"/>
                <a:gd name="T109" fmla="*/ 144 h 148"/>
                <a:gd name="T110" fmla="*/ 4 w 107"/>
                <a:gd name="T111" fmla="*/ 148 h 148"/>
                <a:gd name="T112" fmla="*/ 91 w 107"/>
                <a:gd name="T113" fmla="*/ 148 h 148"/>
                <a:gd name="T114" fmla="*/ 91 w 107"/>
                <a:gd name="T115" fmla="*/ 141 h 148"/>
                <a:gd name="T116" fmla="*/ 8 w 107"/>
                <a:gd name="T117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48">
                  <a:moveTo>
                    <a:pt x="8" y="14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10" y="131"/>
                    <a:pt x="18" y="123"/>
                    <a:pt x="32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8" y="117"/>
                    <a:pt x="42" y="115"/>
                    <a:pt x="43" y="111"/>
                  </a:cubicBezTo>
                  <a:cubicBezTo>
                    <a:pt x="46" y="104"/>
                    <a:pt x="44" y="92"/>
                    <a:pt x="43" y="89"/>
                  </a:cubicBezTo>
                  <a:cubicBezTo>
                    <a:pt x="43" y="89"/>
                    <a:pt x="43" y="89"/>
                    <a:pt x="43" y="88"/>
                  </a:cubicBezTo>
                  <a:cubicBezTo>
                    <a:pt x="40" y="84"/>
                    <a:pt x="38" y="79"/>
                    <a:pt x="36" y="73"/>
                  </a:cubicBezTo>
                  <a:cubicBezTo>
                    <a:pt x="36" y="71"/>
                    <a:pt x="35" y="70"/>
                    <a:pt x="33" y="70"/>
                  </a:cubicBezTo>
                  <a:cubicBezTo>
                    <a:pt x="31" y="70"/>
                    <a:pt x="28" y="66"/>
                    <a:pt x="27" y="60"/>
                  </a:cubicBezTo>
                  <a:cubicBezTo>
                    <a:pt x="26" y="53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9" y="51"/>
                    <a:pt x="30" y="51"/>
                    <a:pt x="30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28" y="37"/>
                    <a:pt x="29" y="27"/>
                    <a:pt x="35" y="20"/>
                  </a:cubicBezTo>
                  <a:cubicBezTo>
                    <a:pt x="41" y="11"/>
                    <a:pt x="51" y="6"/>
                    <a:pt x="63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7" y="27"/>
                    <a:pt x="98" y="37"/>
                    <a:pt x="95" y="47"/>
                  </a:cubicBezTo>
                  <a:cubicBezTo>
                    <a:pt x="95" y="48"/>
                    <a:pt x="95" y="49"/>
                    <a:pt x="96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5" y="70"/>
                    <a:pt x="93" y="70"/>
                  </a:cubicBezTo>
                  <a:cubicBezTo>
                    <a:pt x="91" y="70"/>
                    <a:pt x="90" y="71"/>
                    <a:pt x="90" y="73"/>
                  </a:cubicBezTo>
                  <a:cubicBezTo>
                    <a:pt x="88" y="79"/>
                    <a:pt x="86" y="84"/>
                    <a:pt x="83" y="88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92"/>
                    <a:pt x="80" y="104"/>
                    <a:pt x="83" y="111"/>
                  </a:cubicBezTo>
                  <a:cubicBezTo>
                    <a:pt x="84" y="114"/>
                    <a:pt x="86" y="116"/>
                    <a:pt x="91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9" y="110"/>
                    <a:pt x="89" y="109"/>
                    <a:pt x="89" y="108"/>
                  </a:cubicBezTo>
                  <a:cubicBezTo>
                    <a:pt x="87" y="105"/>
                    <a:pt x="88" y="96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1" y="87"/>
                    <a:pt x="94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5" y="67"/>
                    <a:pt x="106" y="61"/>
                  </a:cubicBezTo>
                  <a:cubicBezTo>
                    <a:pt x="107" y="54"/>
                    <a:pt x="106" y="50"/>
                    <a:pt x="104" y="47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5" y="35"/>
                    <a:pt x="103" y="24"/>
                    <a:pt x="97" y="16"/>
                  </a:cubicBezTo>
                  <a:cubicBezTo>
                    <a:pt x="89" y="5"/>
                    <a:pt x="77" y="0"/>
                    <a:pt x="63" y="0"/>
                  </a:cubicBezTo>
                  <a:cubicBezTo>
                    <a:pt x="49" y="0"/>
                    <a:pt x="37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0" y="50"/>
                    <a:pt x="19" y="54"/>
                    <a:pt x="20" y="61"/>
                  </a:cubicBezTo>
                  <a:cubicBezTo>
                    <a:pt x="21" y="67"/>
                    <a:pt x="25" y="75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82"/>
                    <a:pt x="35" y="87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7" y="92"/>
                    <a:pt x="39" y="104"/>
                    <a:pt x="37" y="108"/>
                  </a:cubicBezTo>
                  <a:cubicBezTo>
                    <a:pt x="37" y="110"/>
                    <a:pt x="33" y="111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19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1"/>
                    <a:pt x="91" y="141"/>
                    <a:pt x="91" y="141"/>
                  </a:cubicBezTo>
                  <a:lnTo>
                    <a:pt x="8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40BF02B5-A85E-B611-8D22-765F6FCC4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775201"/>
              <a:ext cx="107950" cy="11113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55B795B5-5E0B-BB4D-5788-10CD2C357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18063"/>
              <a:ext cx="107950" cy="15875"/>
            </a:xfrm>
            <a:custGeom>
              <a:avLst/>
              <a:gdLst>
                <a:gd name="T0" fmla="*/ 32 w 34"/>
                <a:gd name="T1" fmla="*/ 0 h 5"/>
                <a:gd name="T2" fmla="*/ 2 w 34"/>
                <a:gd name="T3" fmla="*/ 0 h 5"/>
                <a:gd name="T4" fmla="*/ 0 w 34"/>
                <a:gd name="T5" fmla="*/ 3 h 5"/>
                <a:gd name="T6" fmla="*/ 2 w 34"/>
                <a:gd name="T7" fmla="*/ 5 h 5"/>
                <a:gd name="T8" fmla="*/ 32 w 34"/>
                <a:gd name="T9" fmla="*/ 5 h 5"/>
                <a:gd name="T10" fmla="*/ 34 w 34"/>
                <a:gd name="T11" fmla="*/ 3 h 5"/>
                <a:gd name="T12" fmla="*/ 32 w 3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3"/>
                  </a:cubicBezTo>
                  <a:cubicBezTo>
                    <a:pt x="0" y="4"/>
                    <a:pt x="0" y="5"/>
                    <a:pt x="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3" y="5"/>
                    <a:pt x="34" y="4"/>
                    <a:pt x="34" y="3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53CF443A-67EB-7687-B7C8-5046804CC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65688"/>
              <a:ext cx="107950" cy="12700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5" name="Oval 10">
              <a:extLst>
                <a:ext uri="{FF2B5EF4-FFF2-40B4-BE49-F238E27FC236}">
                  <a16:creationId xmlns:a16="http://schemas.microsoft.com/office/drawing/2014/main" id="{1A6C7B9E-253E-2E81-7F00-CE0EBDF34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772026"/>
              <a:ext cx="19050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6" name="Oval 11">
              <a:extLst>
                <a:ext uri="{FF2B5EF4-FFF2-40B4-BE49-F238E27FC236}">
                  <a16:creationId xmlns:a16="http://schemas.microsoft.com/office/drawing/2014/main" id="{4AD84B8D-6E9C-ACC6-17E5-6879AD6D3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14888"/>
              <a:ext cx="19050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7" name="Oval 12">
              <a:extLst>
                <a:ext uri="{FF2B5EF4-FFF2-40B4-BE49-F238E27FC236}">
                  <a16:creationId xmlns:a16="http://schemas.microsoft.com/office/drawing/2014/main" id="{24B84D51-2B44-13E4-1478-59DBBDDB4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625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8" name="Freeform 13">
              <a:extLst>
                <a:ext uri="{FF2B5EF4-FFF2-40B4-BE49-F238E27FC236}">
                  <a16:creationId xmlns:a16="http://schemas.microsoft.com/office/drawing/2014/main" id="{8B3EE298-1AAC-B18D-6CC4-23AFBB37D6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363" y="4660901"/>
              <a:ext cx="190500" cy="274638"/>
            </a:xfrm>
            <a:custGeom>
              <a:avLst/>
              <a:gdLst>
                <a:gd name="T0" fmla="*/ 52 w 60"/>
                <a:gd name="T1" fmla="*/ 12 h 87"/>
                <a:gd name="T2" fmla="*/ 46 w 60"/>
                <a:gd name="T3" fmla="*/ 12 h 87"/>
                <a:gd name="T4" fmla="*/ 46 w 60"/>
                <a:gd name="T5" fmla="*/ 9 h 87"/>
                <a:gd name="T6" fmla="*/ 41 w 60"/>
                <a:gd name="T7" fmla="*/ 4 h 87"/>
                <a:gd name="T8" fmla="*/ 34 w 60"/>
                <a:gd name="T9" fmla="*/ 4 h 87"/>
                <a:gd name="T10" fmla="*/ 30 w 60"/>
                <a:gd name="T11" fmla="*/ 0 h 87"/>
                <a:gd name="T12" fmla="*/ 26 w 60"/>
                <a:gd name="T13" fmla="*/ 4 h 87"/>
                <a:gd name="T14" fmla="*/ 18 w 60"/>
                <a:gd name="T15" fmla="*/ 4 h 87"/>
                <a:gd name="T16" fmla="*/ 14 w 60"/>
                <a:gd name="T17" fmla="*/ 9 h 87"/>
                <a:gd name="T18" fmla="*/ 14 w 60"/>
                <a:gd name="T19" fmla="*/ 12 h 87"/>
                <a:gd name="T20" fmla="*/ 7 w 60"/>
                <a:gd name="T21" fmla="*/ 12 h 87"/>
                <a:gd name="T22" fmla="*/ 7 w 60"/>
                <a:gd name="T23" fmla="*/ 12 h 87"/>
                <a:gd name="T24" fmla="*/ 0 w 60"/>
                <a:gd name="T25" fmla="*/ 20 h 87"/>
                <a:gd name="T26" fmla="*/ 0 w 60"/>
                <a:gd name="T27" fmla="*/ 79 h 87"/>
                <a:gd name="T28" fmla="*/ 8 w 60"/>
                <a:gd name="T29" fmla="*/ 87 h 87"/>
                <a:gd name="T30" fmla="*/ 52 w 60"/>
                <a:gd name="T31" fmla="*/ 87 h 87"/>
                <a:gd name="T32" fmla="*/ 52 w 60"/>
                <a:gd name="T33" fmla="*/ 87 h 87"/>
                <a:gd name="T34" fmla="*/ 60 w 60"/>
                <a:gd name="T35" fmla="*/ 79 h 87"/>
                <a:gd name="T36" fmla="*/ 60 w 60"/>
                <a:gd name="T37" fmla="*/ 20 h 87"/>
                <a:gd name="T38" fmla="*/ 52 w 60"/>
                <a:gd name="T39" fmla="*/ 12 h 87"/>
                <a:gd name="T40" fmla="*/ 18 w 60"/>
                <a:gd name="T41" fmla="*/ 9 h 87"/>
                <a:gd name="T42" fmla="*/ 41 w 60"/>
                <a:gd name="T43" fmla="*/ 9 h 87"/>
                <a:gd name="T44" fmla="*/ 41 w 60"/>
                <a:gd name="T45" fmla="*/ 16 h 87"/>
                <a:gd name="T46" fmla="*/ 18 w 60"/>
                <a:gd name="T47" fmla="*/ 16 h 87"/>
                <a:gd name="T48" fmla="*/ 18 w 60"/>
                <a:gd name="T49" fmla="*/ 9 h 87"/>
                <a:gd name="T50" fmla="*/ 55 w 60"/>
                <a:gd name="T51" fmla="*/ 79 h 87"/>
                <a:gd name="T52" fmla="*/ 52 w 60"/>
                <a:gd name="T53" fmla="*/ 82 h 87"/>
                <a:gd name="T54" fmla="*/ 8 w 60"/>
                <a:gd name="T55" fmla="*/ 82 h 87"/>
                <a:gd name="T56" fmla="*/ 5 w 60"/>
                <a:gd name="T57" fmla="*/ 79 h 87"/>
                <a:gd name="T58" fmla="*/ 5 w 60"/>
                <a:gd name="T59" fmla="*/ 20 h 87"/>
                <a:gd name="T60" fmla="*/ 8 w 60"/>
                <a:gd name="T61" fmla="*/ 16 h 87"/>
                <a:gd name="T62" fmla="*/ 14 w 60"/>
                <a:gd name="T63" fmla="*/ 16 h 87"/>
                <a:gd name="T64" fmla="*/ 18 w 60"/>
                <a:gd name="T65" fmla="*/ 21 h 87"/>
                <a:gd name="T66" fmla="*/ 41 w 60"/>
                <a:gd name="T67" fmla="*/ 21 h 87"/>
                <a:gd name="T68" fmla="*/ 46 w 60"/>
                <a:gd name="T69" fmla="*/ 16 h 87"/>
                <a:gd name="T70" fmla="*/ 52 w 60"/>
                <a:gd name="T71" fmla="*/ 16 h 87"/>
                <a:gd name="T72" fmla="*/ 55 w 60"/>
                <a:gd name="T73" fmla="*/ 20 h 87"/>
                <a:gd name="T74" fmla="*/ 55 w 60"/>
                <a:gd name="T75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87">
                  <a:moveTo>
                    <a:pt x="52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6"/>
                    <a:pt x="44" y="4"/>
                    <a:pt x="41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6" y="2"/>
                    <a:pt x="2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4" y="6"/>
                    <a:pt x="14" y="9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6"/>
                    <a:pt x="0" y="2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3" y="87"/>
                    <a:pt x="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6" y="87"/>
                    <a:pt x="60" y="83"/>
                    <a:pt x="60" y="7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6"/>
                    <a:pt x="56" y="12"/>
                    <a:pt x="52" y="12"/>
                  </a:cubicBezTo>
                  <a:close/>
                  <a:moveTo>
                    <a:pt x="18" y="9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18" y="16"/>
                    <a:pt x="18" y="16"/>
                    <a:pt x="18" y="16"/>
                  </a:cubicBezTo>
                  <a:lnTo>
                    <a:pt x="18" y="9"/>
                  </a:lnTo>
                  <a:close/>
                  <a:moveTo>
                    <a:pt x="55" y="79"/>
                  </a:moveTo>
                  <a:cubicBezTo>
                    <a:pt x="55" y="81"/>
                    <a:pt x="54" y="82"/>
                    <a:pt x="52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6" y="82"/>
                    <a:pt x="5" y="81"/>
                    <a:pt x="5" y="7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8"/>
                    <a:pt x="6" y="16"/>
                    <a:pt x="8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9"/>
                    <a:pt x="16" y="21"/>
                    <a:pt x="18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4" y="21"/>
                    <a:pt x="46" y="19"/>
                    <a:pt x="46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4" y="16"/>
                    <a:pt x="55" y="18"/>
                    <a:pt x="55" y="20"/>
                  </a:cubicBezTo>
                  <a:lnTo>
                    <a:pt x="5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B4C8255B-6BF9-1A80-3CC5-82B309FBFD7C}"/>
              </a:ext>
            </a:extLst>
          </p:cNvPr>
          <p:cNvSpPr txBox="1"/>
          <p:nvPr/>
        </p:nvSpPr>
        <p:spPr>
          <a:xfrm>
            <a:off x="9098871" y="3519003"/>
            <a:ext cx="141672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>
                <a:solidFill>
                  <a:srgbClr val="FF0000"/>
                </a:solidFill>
                <a:highlight>
                  <a:srgbClr val="FFFF00"/>
                </a:highlight>
              </a:rPr>
              <a:t>Implementation note (delete before publishing)</a:t>
            </a:r>
          </a:p>
          <a:p>
            <a:r>
              <a:rPr lang="en-AU" sz="1000" dirty="0">
                <a:solidFill>
                  <a:srgbClr val="FF0000"/>
                </a:solidFill>
                <a:highlight>
                  <a:srgbClr val="FFFF00"/>
                </a:highlight>
              </a:rPr>
              <a:t>Text should be updates to reflect the process at your council</a:t>
            </a:r>
            <a:r>
              <a:rPr lang="en-AU" dirty="0">
                <a:highlight>
                  <a:srgbClr val="FFFF00"/>
                </a:highlight>
              </a:rPr>
              <a:t> 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45B745F-764B-3E09-D9F0-E0702C64E3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3273302" y="5982578"/>
            <a:ext cx="212949" cy="234313"/>
            <a:chOff x="7299325" y="4395788"/>
            <a:chExt cx="490538" cy="539751"/>
          </a:xfrm>
          <a:solidFill>
            <a:srgbClr val="FFFFFF"/>
          </a:solidFill>
        </p:grpSpPr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50160775-37E2-ED0A-7AB8-C96770455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325" y="4395788"/>
              <a:ext cx="338138" cy="466725"/>
            </a:xfrm>
            <a:custGeom>
              <a:avLst/>
              <a:gdLst>
                <a:gd name="T0" fmla="*/ 8 w 107"/>
                <a:gd name="T1" fmla="*/ 141 h 148"/>
                <a:gd name="T2" fmla="*/ 8 w 107"/>
                <a:gd name="T3" fmla="*/ 141 h 148"/>
                <a:gd name="T4" fmla="*/ 32 w 107"/>
                <a:gd name="T5" fmla="*/ 119 h 148"/>
                <a:gd name="T6" fmla="*/ 32 w 107"/>
                <a:gd name="T7" fmla="*/ 119 h 148"/>
                <a:gd name="T8" fmla="*/ 43 w 107"/>
                <a:gd name="T9" fmla="*/ 111 h 148"/>
                <a:gd name="T10" fmla="*/ 43 w 107"/>
                <a:gd name="T11" fmla="*/ 89 h 148"/>
                <a:gd name="T12" fmla="*/ 43 w 107"/>
                <a:gd name="T13" fmla="*/ 88 h 148"/>
                <a:gd name="T14" fmla="*/ 36 w 107"/>
                <a:gd name="T15" fmla="*/ 73 h 148"/>
                <a:gd name="T16" fmla="*/ 33 w 107"/>
                <a:gd name="T17" fmla="*/ 70 h 148"/>
                <a:gd name="T18" fmla="*/ 27 w 107"/>
                <a:gd name="T19" fmla="*/ 60 h 148"/>
                <a:gd name="T20" fmla="*/ 27 w 107"/>
                <a:gd name="T21" fmla="*/ 51 h 148"/>
                <a:gd name="T22" fmla="*/ 27 w 107"/>
                <a:gd name="T23" fmla="*/ 51 h 148"/>
                <a:gd name="T24" fmla="*/ 30 w 107"/>
                <a:gd name="T25" fmla="*/ 50 h 148"/>
                <a:gd name="T26" fmla="*/ 31 w 107"/>
                <a:gd name="T27" fmla="*/ 47 h 148"/>
                <a:gd name="T28" fmla="*/ 35 w 107"/>
                <a:gd name="T29" fmla="*/ 20 h 148"/>
                <a:gd name="T30" fmla="*/ 63 w 107"/>
                <a:gd name="T31" fmla="*/ 6 h 148"/>
                <a:gd name="T32" fmla="*/ 91 w 107"/>
                <a:gd name="T33" fmla="*/ 20 h 148"/>
                <a:gd name="T34" fmla="*/ 95 w 107"/>
                <a:gd name="T35" fmla="*/ 47 h 148"/>
                <a:gd name="T36" fmla="*/ 96 w 107"/>
                <a:gd name="T37" fmla="*/ 50 h 148"/>
                <a:gd name="T38" fmla="*/ 98 w 107"/>
                <a:gd name="T39" fmla="*/ 51 h 148"/>
                <a:gd name="T40" fmla="*/ 99 w 107"/>
                <a:gd name="T41" fmla="*/ 51 h 148"/>
                <a:gd name="T42" fmla="*/ 99 w 107"/>
                <a:gd name="T43" fmla="*/ 60 h 148"/>
                <a:gd name="T44" fmla="*/ 93 w 107"/>
                <a:gd name="T45" fmla="*/ 70 h 148"/>
                <a:gd name="T46" fmla="*/ 90 w 107"/>
                <a:gd name="T47" fmla="*/ 73 h 148"/>
                <a:gd name="T48" fmla="*/ 83 w 107"/>
                <a:gd name="T49" fmla="*/ 88 h 148"/>
                <a:gd name="T50" fmla="*/ 83 w 107"/>
                <a:gd name="T51" fmla="*/ 89 h 148"/>
                <a:gd name="T52" fmla="*/ 83 w 107"/>
                <a:gd name="T53" fmla="*/ 111 h 148"/>
                <a:gd name="T54" fmla="*/ 91 w 107"/>
                <a:gd name="T55" fmla="*/ 118 h 148"/>
                <a:gd name="T56" fmla="*/ 91 w 107"/>
                <a:gd name="T57" fmla="*/ 111 h 148"/>
                <a:gd name="T58" fmla="*/ 89 w 107"/>
                <a:gd name="T59" fmla="*/ 108 h 148"/>
                <a:gd name="T60" fmla="*/ 89 w 107"/>
                <a:gd name="T61" fmla="*/ 91 h 148"/>
                <a:gd name="T62" fmla="*/ 89 w 107"/>
                <a:gd name="T63" fmla="*/ 91 h 148"/>
                <a:gd name="T64" fmla="*/ 95 w 107"/>
                <a:gd name="T65" fmla="*/ 77 h 148"/>
                <a:gd name="T66" fmla="*/ 95 w 107"/>
                <a:gd name="T67" fmla="*/ 77 h 148"/>
                <a:gd name="T68" fmla="*/ 106 w 107"/>
                <a:gd name="T69" fmla="*/ 61 h 148"/>
                <a:gd name="T70" fmla="*/ 104 w 107"/>
                <a:gd name="T71" fmla="*/ 47 h 148"/>
                <a:gd name="T72" fmla="*/ 103 w 107"/>
                <a:gd name="T73" fmla="*/ 46 h 148"/>
                <a:gd name="T74" fmla="*/ 103 w 107"/>
                <a:gd name="T75" fmla="*/ 46 h 148"/>
                <a:gd name="T76" fmla="*/ 103 w 107"/>
                <a:gd name="T77" fmla="*/ 45 h 148"/>
                <a:gd name="T78" fmla="*/ 97 w 107"/>
                <a:gd name="T79" fmla="*/ 16 h 148"/>
                <a:gd name="T80" fmla="*/ 63 w 107"/>
                <a:gd name="T81" fmla="*/ 0 h 148"/>
                <a:gd name="T82" fmla="*/ 29 w 107"/>
                <a:gd name="T83" fmla="*/ 16 h 148"/>
                <a:gd name="T84" fmla="*/ 23 w 107"/>
                <a:gd name="T85" fmla="*/ 45 h 148"/>
                <a:gd name="T86" fmla="*/ 23 w 107"/>
                <a:gd name="T87" fmla="*/ 46 h 148"/>
                <a:gd name="T88" fmla="*/ 23 w 107"/>
                <a:gd name="T89" fmla="*/ 46 h 148"/>
                <a:gd name="T90" fmla="*/ 22 w 107"/>
                <a:gd name="T91" fmla="*/ 47 h 148"/>
                <a:gd name="T92" fmla="*/ 20 w 107"/>
                <a:gd name="T93" fmla="*/ 61 h 148"/>
                <a:gd name="T94" fmla="*/ 31 w 107"/>
                <a:gd name="T95" fmla="*/ 77 h 148"/>
                <a:gd name="T96" fmla="*/ 31 w 107"/>
                <a:gd name="T97" fmla="*/ 77 h 148"/>
                <a:gd name="T98" fmla="*/ 37 w 107"/>
                <a:gd name="T99" fmla="*/ 91 h 148"/>
                <a:gd name="T100" fmla="*/ 37 w 107"/>
                <a:gd name="T101" fmla="*/ 91 h 148"/>
                <a:gd name="T102" fmla="*/ 37 w 107"/>
                <a:gd name="T103" fmla="*/ 108 h 148"/>
                <a:gd name="T104" fmla="*/ 29 w 107"/>
                <a:gd name="T105" fmla="*/ 113 h 148"/>
                <a:gd name="T106" fmla="*/ 29 w 107"/>
                <a:gd name="T107" fmla="*/ 113 h 148"/>
                <a:gd name="T108" fmla="*/ 0 w 107"/>
                <a:gd name="T109" fmla="*/ 144 h 148"/>
                <a:gd name="T110" fmla="*/ 4 w 107"/>
                <a:gd name="T111" fmla="*/ 148 h 148"/>
                <a:gd name="T112" fmla="*/ 91 w 107"/>
                <a:gd name="T113" fmla="*/ 148 h 148"/>
                <a:gd name="T114" fmla="*/ 91 w 107"/>
                <a:gd name="T115" fmla="*/ 141 h 148"/>
                <a:gd name="T116" fmla="*/ 8 w 107"/>
                <a:gd name="T117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48">
                  <a:moveTo>
                    <a:pt x="8" y="141"/>
                  </a:moveTo>
                  <a:cubicBezTo>
                    <a:pt x="8" y="141"/>
                    <a:pt x="8" y="141"/>
                    <a:pt x="8" y="141"/>
                  </a:cubicBezTo>
                  <a:cubicBezTo>
                    <a:pt x="10" y="131"/>
                    <a:pt x="18" y="123"/>
                    <a:pt x="32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8" y="117"/>
                    <a:pt x="42" y="115"/>
                    <a:pt x="43" y="111"/>
                  </a:cubicBezTo>
                  <a:cubicBezTo>
                    <a:pt x="46" y="104"/>
                    <a:pt x="44" y="92"/>
                    <a:pt x="43" y="89"/>
                  </a:cubicBezTo>
                  <a:cubicBezTo>
                    <a:pt x="43" y="89"/>
                    <a:pt x="43" y="89"/>
                    <a:pt x="43" y="88"/>
                  </a:cubicBezTo>
                  <a:cubicBezTo>
                    <a:pt x="40" y="84"/>
                    <a:pt x="38" y="79"/>
                    <a:pt x="36" y="73"/>
                  </a:cubicBezTo>
                  <a:cubicBezTo>
                    <a:pt x="36" y="71"/>
                    <a:pt x="35" y="70"/>
                    <a:pt x="33" y="70"/>
                  </a:cubicBezTo>
                  <a:cubicBezTo>
                    <a:pt x="31" y="70"/>
                    <a:pt x="28" y="66"/>
                    <a:pt x="27" y="60"/>
                  </a:cubicBezTo>
                  <a:cubicBezTo>
                    <a:pt x="26" y="53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9" y="51"/>
                    <a:pt x="30" y="51"/>
                    <a:pt x="30" y="50"/>
                  </a:cubicBezTo>
                  <a:cubicBezTo>
                    <a:pt x="31" y="49"/>
                    <a:pt x="31" y="48"/>
                    <a:pt x="31" y="47"/>
                  </a:cubicBezTo>
                  <a:cubicBezTo>
                    <a:pt x="28" y="37"/>
                    <a:pt x="29" y="27"/>
                    <a:pt x="35" y="20"/>
                  </a:cubicBezTo>
                  <a:cubicBezTo>
                    <a:pt x="41" y="11"/>
                    <a:pt x="51" y="6"/>
                    <a:pt x="63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7" y="27"/>
                    <a:pt x="98" y="37"/>
                    <a:pt x="95" y="47"/>
                  </a:cubicBezTo>
                  <a:cubicBezTo>
                    <a:pt x="95" y="48"/>
                    <a:pt x="95" y="49"/>
                    <a:pt x="96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5" y="70"/>
                    <a:pt x="93" y="70"/>
                  </a:cubicBezTo>
                  <a:cubicBezTo>
                    <a:pt x="91" y="70"/>
                    <a:pt x="90" y="71"/>
                    <a:pt x="90" y="73"/>
                  </a:cubicBezTo>
                  <a:cubicBezTo>
                    <a:pt x="88" y="79"/>
                    <a:pt x="86" y="84"/>
                    <a:pt x="83" y="88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92"/>
                    <a:pt x="80" y="104"/>
                    <a:pt x="83" y="111"/>
                  </a:cubicBezTo>
                  <a:cubicBezTo>
                    <a:pt x="84" y="114"/>
                    <a:pt x="86" y="116"/>
                    <a:pt x="91" y="118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9" y="110"/>
                    <a:pt x="89" y="109"/>
                    <a:pt x="89" y="108"/>
                  </a:cubicBezTo>
                  <a:cubicBezTo>
                    <a:pt x="87" y="105"/>
                    <a:pt x="88" y="96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1" y="87"/>
                    <a:pt x="94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5" y="67"/>
                    <a:pt x="106" y="61"/>
                  </a:cubicBezTo>
                  <a:cubicBezTo>
                    <a:pt x="107" y="54"/>
                    <a:pt x="106" y="50"/>
                    <a:pt x="104" y="47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5" y="35"/>
                    <a:pt x="103" y="24"/>
                    <a:pt x="97" y="16"/>
                  </a:cubicBezTo>
                  <a:cubicBezTo>
                    <a:pt x="89" y="5"/>
                    <a:pt x="77" y="0"/>
                    <a:pt x="63" y="0"/>
                  </a:cubicBezTo>
                  <a:cubicBezTo>
                    <a:pt x="49" y="0"/>
                    <a:pt x="37" y="5"/>
                    <a:pt x="29" y="16"/>
                  </a:cubicBezTo>
                  <a:cubicBezTo>
                    <a:pt x="23" y="24"/>
                    <a:pt x="21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0" y="50"/>
                    <a:pt x="19" y="54"/>
                    <a:pt x="20" y="61"/>
                  </a:cubicBezTo>
                  <a:cubicBezTo>
                    <a:pt x="21" y="67"/>
                    <a:pt x="25" y="75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82"/>
                    <a:pt x="35" y="87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7" y="92"/>
                    <a:pt x="39" y="104"/>
                    <a:pt x="37" y="108"/>
                  </a:cubicBezTo>
                  <a:cubicBezTo>
                    <a:pt x="37" y="110"/>
                    <a:pt x="33" y="111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19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1" y="141"/>
                    <a:pt x="91" y="141"/>
                    <a:pt x="91" y="141"/>
                  </a:cubicBezTo>
                  <a:lnTo>
                    <a:pt x="8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C255E1E2-ED85-F27F-4D21-09E0DCF79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775201"/>
              <a:ext cx="107950" cy="11113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7A6D046B-E6E3-38AB-13B0-623AD85E8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18063"/>
              <a:ext cx="107950" cy="15875"/>
            </a:xfrm>
            <a:custGeom>
              <a:avLst/>
              <a:gdLst>
                <a:gd name="T0" fmla="*/ 32 w 34"/>
                <a:gd name="T1" fmla="*/ 0 h 5"/>
                <a:gd name="T2" fmla="*/ 2 w 34"/>
                <a:gd name="T3" fmla="*/ 0 h 5"/>
                <a:gd name="T4" fmla="*/ 0 w 34"/>
                <a:gd name="T5" fmla="*/ 3 h 5"/>
                <a:gd name="T6" fmla="*/ 2 w 34"/>
                <a:gd name="T7" fmla="*/ 5 h 5"/>
                <a:gd name="T8" fmla="*/ 32 w 34"/>
                <a:gd name="T9" fmla="*/ 5 h 5"/>
                <a:gd name="T10" fmla="*/ 34 w 34"/>
                <a:gd name="T11" fmla="*/ 3 h 5"/>
                <a:gd name="T12" fmla="*/ 32 w 34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3"/>
                  </a:cubicBezTo>
                  <a:cubicBezTo>
                    <a:pt x="0" y="4"/>
                    <a:pt x="0" y="5"/>
                    <a:pt x="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3" y="5"/>
                    <a:pt x="34" y="4"/>
                    <a:pt x="34" y="3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9A657C2F-6F40-85FF-0BB3-A88D5077E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6513" y="4865688"/>
              <a:ext cx="107950" cy="12700"/>
            </a:xfrm>
            <a:custGeom>
              <a:avLst/>
              <a:gdLst>
                <a:gd name="T0" fmla="*/ 32 w 34"/>
                <a:gd name="T1" fmla="*/ 0 h 4"/>
                <a:gd name="T2" fmla="*/ 2 w 34"/>
                <a:gd name="T3" fmla="*/ 0 h 4"/>
                <a:gd name="T4" fmla="*/ 0 w 34"/>
                <a:gd name="T5" fmla="*/ 2 h 4"/>
                <a:gd name="T6" fmla="*/ 2 w 34"/>
                <a:gd name="T7" fmla="*/ 4 h 4"/>
                <a:gd name="T8" fmla="*/ 32 w 34"/>
                <a:gd name="T9" fmla="*/ 4 h 4"/>
                <a:gd name="T10" fmla="*/ 34 w 34"/>
                <a:gd name="T11" fmla="*/ 2 h 4"/>
                <a:gd name="T12" fmla="*/ 32 w 3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">
                  <a:moveTo>
                    <a:pt x="3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4" y="1"/>
                    <a:pt x="33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4" name="Oval 10">
              <a:extLst>
                <a:ext uri="{FF2B5EF4-FFF2-40B4-BE49-F238E27FC236}">
                  <a16:creationId xmlns:a16="http://schemas.microsoft.com/office/drawing/2014/main" id="{4DB10313-A89E-927C-5A58-93AB58CB2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772026"/>
              <a:ext cx="19050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5" name="Oval 11">
              <a:extLst>
                <a:ext uri="{FF2B5EF4-FFF2-40B4-BE49-F238E27FC236}">
                  <a16:creationId xmlns:a16="http://schemas.microsoft.com/office/drawing/2014/main" id="{48881A4D-086D-F61A-C841-A8A2A8B84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14888"/>
              <a:ext cx="19050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6" name="Oval 12">
              <a:extLst>
                <a:ext uri="{FF2B5EF4-FFF2-40B4-BE49-F238E27FC236}">
                  <a16:creationId xmlns:a16="http://schemas.microsoft.com/office/drawing/2014/main" id="{461C8232-865D-48BC-4047-B05767E5D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763" y="48625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7DDCD53D-9FEF-D601-D47F-A5AD077F45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9363" y="4660901"/>
              <a:ext cx="190500" cy="274638"/>
            </a:xfrm>
            <a:custGeom>
              <a:avLst/>
              <a:gdLst>
                <a:gd name="T0" fmla="*/ 52 w 60"/>
                <a:gd name="T1" fmla="*/ 12 h 87"/>
                <a:gd name="T2" fmla="*/ 46 w 60"/>
                <a:gd name="T3" fmla="*/ 12 h 87"/>
                <a:gd name="T4" fmla="*/ 46 w 60"/>
                <a:gd name="T5" fmla="*/ 9 h 87"/>
                <a:gd name="T6" fmla="*/ 41 w 60"/>
                <a:gd name="T7" fmla="*/ 4 h 87"/>
                <a:gd name="T8" fmla="*/ 34 w 60"/>
                <a:gd name="T9" fmla="*/ 4 h 87"/>
                <a:gd name="T10" fmla="*/ 30 w 60"/>
                <a:gd name="T11" fmla="*/ 0 h 87"/>
                <a:gd name="T12" fmla="*/ 26 w 60"/>
                <a:gd name="T13" fmla="*/ 4 h 87"/>
                <a:gd name="T14" fmla="*/ 18 w 60"/>
                <a:gd name="T15" fmla="*/ 4 h 87"/>
                <a:gd name="T16" fmla="*/ 14 w 60"/>
                <a:gd name="T17" fmla="*/ 9 h 87"/>
                <a:gd name="T18" fmla="*/ 14 w 60"/>
                <a:gd name="T19" fmla="*/ 12 h 87"/>
                <a:gd name="T20" fmla="*/ 7 w 60"/>
                <a:gd name="T21" fmla="*/ 12 h 87"/>
                <a:gd name="T22" fmla="*/ 7 w 60"/>
                <a:gd name="T23" fmla="*/ 12 h 87"/>
                <a:gd name="T24" fmla="*/ 0 w 60"/>
                <a:gd name="T25" fmla="*/ 20 h 87"/>
                <a:gd name="T26" fmla="*/ 0 w 60"/>
                <a:gd name="T27" fmla="*/ 79 h 87"/>
                <a:gd name="T28" fmla="*/ 8 w 60"/>
                <a:gd name="T29" fmla="*/ 87 h 87"/>
                <a:gd name="T30" fmla="*/ 52 w 60"/>
                <a:gd name="T31" fmla="*/ 87 h 87"/>
                <a:gd name="T32" fmla="*/ 52 w 60"/>
                <a:gd name="T33" fmla="*/ 87 h 87"/>
                <a:gd name="T34" fmla="*/ 60 w 60"/>
                <a:gd name="T35" fmla="*/ 79 h 87"/>
                <a:gd name="T36" fmla="*/ 60 w 60"/>
                <a:gd name="T37" fmla="*/ 20 h 87"/>
                <a:gd name="T38" fmla="*/ 52 w 60"/>
                <a:gd name="T39" fmla="*/ 12 h 87"/>
                <a:gd name="T40" fmla="*/ 18 w 60"/>
                <a:gd name="T41" fmla="*/ 9 h 87"/>
                <a:gd name="T42" fmla="*/ 41 w 60"/>
                <a:gd name="T43" fmla="*/ 9 h 87"/>
                <a:gd name="T44" fmla="*/ 41 w 60"/>
                <a:gd name="T45" fmla="*/ 16 h 87"/>
                <a:gd name="T46" fmla="*/ 18 w 60"/>
                <a:gd name="T47" fmla="*/ 16 h 87"/>
                <a:gd name="T48" fmla="*/ 18 w 60"/>
                <a:gd name="T49" fmla="*/ 9 h 87"/>
                <a:gd name="T50" fmla="*/ 55 w 60"/>
                <a:gd name="T51" fmla="*/ 79 h 87"/>
                <a:gd name="T52" fmla="*/ 52 w 60"/>
                <a:gd name="T53" fmla="*/ 82 h 87"/>
                <a:gd name="T54" fmla="*/ 8 w 60"/>
                <a:gd name="T55" fmla="*/ 82 h 87"/>
                <a:gd name="T56" fmla="*/ 5 w 60"/>
                <a:gd name="T57" fmla="*/ 79 h 87"/>
                <a:gd name="T58" fmla="*/ 5 w 60"/>
                <a:gd name="T59" fmla="*/ 20 h 87"/>
                <a:gd name="T60" fmla="*/ 8 w 60"/>
                <a:gd name="T61" fmla="*/ 16 h 87"/>
                <a:gd name="T62" fmla="*/ 14 w 60"/>
                <a:gd name="T63" fmla="*/ 16 h 87"/>
                <a:gd name="T64" fmla="*/ 18 w 60"/>
                <a:gd name="T65" fmla="*/ 21 h 87"/>
                <a:gd name="T66" fmla="*/ 41 w 60"/>
                <a:gd name="T67" fmla="*/ 21 h 87"/>
                <a:gd name="T68" fmla="*/ 46 w 60"/>
                <a:gd name="T69" fmla="*/ 16 h 87"/>
                <a:gd name="T70" fmla="*/ 52 w 60"/>
                <a:gd name="T71" fmla="*/ 16 h 87"/>
                <a:gd name="T72" fmla="*/ 55 w 60"/>
                <a:gd name="T73" fmla="*/ 20 h 87"/>
                <a:gd name="T74" fmla="*/ 55 w 60"/>
                <a:gd name="T75" fmla="*/ 79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87">
                  <a:moveTo>
                    <a:pt x="52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6"/>
                    <a:pt x="44" y="4"/>
                    <a:pt x="41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6" y="2"/>
                    <a:pt x="26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4" y="6"/>
                    <a:pt x="14" y="9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0" y="16"/>
                    <a:pt x="0" y="2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83"/>
                    <a:pt x="3" y="87"/>
                    <a:pt x="8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6" y="87"/>
                    <a:pt x="60" y="83"/>
                    <a:pt x="60" y="79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6"/>
                    <a:pt x="56" y="12"/>
                    <a:pt x="52" y="12"/>
                  </a:cubicBezTo>
                  <a:close/>
                  <a:moveTo>
                    <a:pt x="18" y="9"/>
                  </a:moveTo>
                  <a:cubicBezTo>
                    <a:pt x="41" y="9"/>
                    <a:pt x="41" y="9"/>
                    <a:pt x="41" y="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18" y="16"/>
                    <a:pt x="18" y="16"/>
                    <a:pt x="18" y="16"/>
                  </a:cubicBezTo>
                  <a:lnTo>
                    <a:pt x="18" y="9"/>
                  </a:lnTo>
                  <a:close/>
                  <a:moveTo>
                    <a:pt x="55" y="79"/>
                  </a:moveTo>
                  <a:cubicBezTo>
                    <a:pt x="55" y="81"/>
                    <a:pt x="54" y="82"/>
                    <a:pt x="52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6" y="82"/>
                    <a:pt x="5" y="81"/>
                    <a:pt x="5" y="7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8"/>
                    <a:pt x="6" y="16"/>
                    <a:pt x="8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9"/>
                    <a:pt x="16" y="21"/>
                    <a:pt x="18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4" y="21"/>
                    <a:pt x="46" y="19"/>
                    <a:pt x="46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4" y="16"/>
                    <a:pt x="55" y="18"/>
                    <a:pt x="55" y="20"/>
                  </a:cubicBezTo>
                  <a:lnTo>
                    <a:pt x="5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47243E0-3DD8-C870-2D69-54FE0A9172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6658080" y="3953321"/>
            <a:ext cx="229343" cy="222677"/>
            <a:chOff x="8374063" y="4395788"/>
            <a:chExt cx="546100" cy="530226"/>
          </a:xfrm>
          <a:solidFill>
            <a:srgbClr val="FFFFFF"/>
          </a:solidFill>
        </p:grpSpPr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B0DC751E-1A80-7970-7B6A-86F81EDF2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4395788"/>
              <a:ext cx="333375" cy="466725"/>
            </a:xfrm>
            <a:custGeom>
              <a:avLst/>
              <a:gdLst>
                <a:gd name="T0" fmla="*/ 7 w 106"/>
                <a:gd name="T1" fmla="*/ 141 h 148"/>
                <a:gd name="T2" fmla="*/ 7 w 106"/>
                <a:gd name="T3" fmla="*/ 141 h 148"/>
                <a:gd name="T4" fmla="*/ 31 w 106"/>
                <a:gd name="T5" fmla="*/ 119 h 148"/>
                <a:gd name="T6" fmla="*/ 31 w 106"/>
                <a:gd name="T7" fmla="*/ 119 h 148"/>
                <a:gd name="T8" fmla="*/ 43 w 106"/>
                <a:gd name="T9" fmla="*/ 111 h 148"/>
                <a:gd name="T10" fmla="*/ 43 w 106"/>
                <a:gd name="T11" fmla="*/ 89 h 148"/>
                <a:gd name="T12" fmla="*/ 42 w 106"/>
                <a:gd name="T13" fmla="*/ 88 h 148"/>
                <a:gd name="T14" fmla="*/ 36 w 106"/>
                <a:gd name="T15" fmla="*/ 73 h 148"/>
                <a:gd name="T16" fmla="*/ 32 w 106"/>
                <a:gd name="T17" fmla="*/ 70 h 148"/>
                <a:gd name="T18" fmla="*/ 26 w 106"/>
                <a:gd name="T19" fmla="*/ 60 h 148"/>
                <a:gd name="T20" fmla="*/ 26 w 106"/>
                <a:gd name="T21" fmla="*/ 51 h 148"/>
                <a:gd name="T22" fmla="*/ 27 w 106"/>
                <a:gd name="T23" fmla="*/ 51 h 148"/>
                <a:gd name="T24" fmla="*/ 30 w 106"/>
                <a:gd name="T25" fmla="*/ 50 h 148"/>
                <a:gd name="T26" fmla="*/ 30 w 106"/>
                <a:gd name="T27" fmla="*/ 47 h 148"/>
                <a:gd name="T28" fmla="*/ 34 w 106"/>
                <a:gd name="T29" fmla="*/ 20 h 148"/>
                <a:gd name="T30" fmla="*/ 62 w 106"/>
                <a:gd name="T31" fmla="*/ 6 h 148"/>
                <a:gd name="T32" fmla="*/ 91 w 106"/>
                <a:gd name="T33" fmla="*/ 20 h 148"/>
                <a:gd name="T34" fmla="*/ 95 w 106"/>
                <a:gd name="T35" fmla="*/ 47 h 148"/>
                <a:gd name="T36" fmla="*/ 95 w 106"/>
                <a:gd name="T37" fmla="*/ 50 h 148"/>
                <a:gd name="T38" fmla="*/ 98 w 106"/>
                <a:gd name="T39" fmla="*/ 51 h 148"/>
                <a:gd name="T40" fmla="*/ 99 w 106"/>
                <a:gd name="T41" fmla="*/ 51 h 148"/>
                <a:gd name="T42" fmla="*/ 99 w 106"/>
                <a:gd name="T43" fmla="*/ 60 h 148"/>
                <a:gd name="T44" fmla="*/ 92 w 106"/>
                <a:gd name="T45" fmla="*/ 70 h 148"/>
                <a:gd name="T46" fmla="*/ 89 w 106"/>
                <a:gd name="T47" fmla="*/ 73 h 148"/>
                <a:gd name="T48" fmla="*/ 82 w 106"/>
                <a:gd name="T49" fmla="*/ 88 h 148"/>
                <a:gd name="T50" fmla="*/ 82 w 106"/>
                <a:gd name="T51" fmla="*/ 89 h 148"/>
                <a:gd name="T52" fmla="*/ 82 w 106"/>
                <a:gd name="T53" fmla="*/ 111 h 148"/>
                <a:gd name="T54" fmla="*/ 83 w 106"/>
                <a:gd name="T55" fmla="*/ 113 h 148"/>
                <a:gd name="T56" fmla="*/ 88 w 106"/>
                <a:gd name="T57" fmla="*/ 107 h 148"/>
                <a:gd name="T58" fmla="*/ 88 w 106"/>
                <a:gd name="T59" fmla="*/ 91 h 148"/>
                <a:gd name="T60" fmla="*/ 88 w 106"/>
                <a:gd name="T61" fmla="*/ 91 h 148"/>
                <a:gd name="T62" fmla="*/ 95 w 106"/>
                <a:gd name="T63" fmla="*/ 77 h 148"/>
                <a:gd name="T64" fmla="*/ 95 w 106"/>
                <a:gd name="T65" fmla="*/ 77 h 148"/>
                <a:gd name="T66" fmla="*/ 105 w 106"/>
                <a:gd name="T67" fmla="*/ 61 h 148"/>
                <a:gd name="T68" fmla="*/ 104 w 106"/>
                <a:gd name="T69" fmla="*/ 47 h 148"/>
                <a:gd name="T70" fmla="*/ 102 w 106"/>
                <a:gd name="T71" fmla="*/ 46 h 148"/>
                <a:gd name="T72" fmla="*/ 102 w 106"/>
                <a:gd name="T73" fmla="*/ 46 h 148"/>
                <a:gd name="T74" fmla="*/ 102 w 106"/>
                <a:gd name="T75" fmla="*/ 45 h 148"/>
                <a:gd name="T76" fmla="*/ 96 w 106"/>
                <a:gd name="T77" fmla="*/ 16 h 148"/>
                <a:gd name="T78" fmla="*/ 62 w 106"/>
                <a:gd name="T79" fmla="*/ 0 h 148"/>
                <a:gd name="T80" fmla="*/ 29 w 106"/>
                <a:gd name="T81" fmla="*/ 16 h 148"/>
                <a:gd name="T82" fmla="*/ 23 w 106"/>
                <a:gd name="T83" fmla="*/ 45 h 148"/>
                <a:gd name="T84" fmla="*/ 23 w 106"/>
                <a:gd name="T85" fmla="*/ 46 h 148"/>
                <a:gd name="T86" fmla="*/ 23 w 106"/>
                <a:gd name="T87" fmla="*/ 46 h 148"/>
                <a:gd name="T88" fmla="*/ 21 w 106"/>
                <a:gd name="T89" fmla="*/ 47 h 148"/>
                <a:gd name="T90" fmla="*/ 19 w 106"/>
                <a:gd name="T91" fmla="*/ 61 h 148"/>
                <a:gd name="T92" fmla="*/ 30 w 106"/>
                <a:gd name="T93" fmla="*/ 77 h 148"/>
                <a:gd name="T94" fmla="*/ 30 w 106"/>
                <a:gd name="T95" fmla="*/ 77 h 148"/>
                <a:gd name="T96" fmla="*/ 36 w 106"/>
                <a:gd name="T97" fmla="*/ 91 h 148"/>
                <a:gd name="T98" fmla="*/ 36 w 106"/>
                <a:gd name="T99" fmla="*/ 91 h 148"/>
                <a:gd name="T100" fmla="*/ 37 w 106"/>
                <a:gd name="T101" fmla="*/ 108 h 148"/>
                <a:gd name="T102" fmla="*/ 29 w 106"/>
                <a:gd name="T103" fmla="*/ 113 h 148"/>
                <a:gd name="T104" fmla="*/ 28 w 106"/>
                <a:gd name="T105" fmla="*/ 113 h 148"/>
                <a:gd name="T106" fmla="*/ 0 w 106"/>
                <a:gd name="T107" fmla="*/ 144 h 148"/>
                <a:gd name="T108" fmla="*/ 4 w 106"/>
                <a:gd name="T109" fmla="*/ 148 h 148"/>
                <a:gd name="T110" fmla="*/ 90 w 106"/>
                <a:gd name="T111" fmla="*/ 148 h 148"/>
                <a:gd name="T112" fmla="*/ 85 w 106"/>
                <a:gd name="T113" fmla="*/ 141 h 148"/>
                <a:gd name="T114" fmla="*/ 7 w 106"/>
                <a:gd name="T115" fmla="*/ 14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" h="148">
                  <a:moveTo>
                    <a:pt x="7" y="141"/>
                  </a:moveTo>
                  <a:cubicBezTo>
                    <a:pt x="7" y="141"/>
                    <a:pt x="7" y="141"/>
                    <a:pt x="7" y="141"/>
                  </a:cubicBezTo>
                  <a:cubicBezTo>
                    <a:pt x="9" y="131"/>
                    <a:pt x="17" y="123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7" y="117"/>
                    <a:pt x="41" y="115"/>
                    <a:pt x="43" y="111"/>
                  </a:cubicBezTo>
                  <a:cubicBezTo>
                    <a:pt x="45" y="104"/>
                    <a:pt x="43" y="92"/>
                    <a:pt x="43" y="89"/>
                  </a:cubicBezTo>
                  <a:cubicBezTo>
                    <a:pt x="43" y="89"/>
                    <a:pt x="43" y="89"/>
                    <a:pt x="42" y="88"/>
                  </a:cubicBezTo>
                  <a:cubicBezTo>
                    <a:pt x="40" y="84"/>
                    <a:pt x="37" y="79"/>
                    <a:pt x="36" y="73"/>
                  </a:cubicBezTo>
                  <a:cubicBezTo>
                    <a:pt x="35" y="71"/>
                    <a:pt x="34" y="70"/>
                    <a:pt x="32" y="70"/>
                  </a:cubicBezTo>
                  <a:cubicBezTo>
                    <a:pt x="30" y="70"/>
                    <a:pt x="27" y="66"/>
                    <a:pt x="26" y="60"/>
                  </a:cubicBezTo>
                  <a:cubicBezTo>
                    <a:pt x="25" y="53"/>
                    <a:pt x="26" y="52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28" y="51"/>
                    <a:pt x="29" y="51"/>
                    <a:pt x="30" y="50"/>
                  </a:cubicBezTo>
                  <a:cubicBezTo>
                    <a:pt x="30" y="49"/>
                    <a:pt x="30" y="48"/>
                    <a:pt x="30" y="47"/>
                  </a:cubicBezTo>
                  <a:cubicBezTo>
                    <a:pt x="27" y="37"/>
                    <a:pt x="28" y="27"/>
                    <a:pt x="34" y="20"/>
                  </a:cubicBezTo>
                  <a:cubicBezTo>
                    <a:pt x="40" y="11"/>
                    <a:pt x="50" y="6"/>
                    <a:pt x="62" y="6"/>
                  </a:cubicBezTo>
                  <a:cubicBezTo>
                    <a:pt x="75" y="6"/>
                    <a:pt x="85" y="11"/>
                    <a:pt x="91" y="20"/>
                  </a:cubicBezTo>
                  <a:cubicBezTo>
                    <a:pt x="96" y="27"/>
                    <a:pt x="98" y="37"/>
                    <a:pt x="95" y="47"/>
                  </a:cubicBezTo>
                  <a:cubicBezTo>
                    <a:pt x="94" y="48"/>
                    <a:pt x="95" y="49"/>
                    <a:pt x="95" y="50"/>
                  </a:cubicBezTo>
                  <a:cubicBezTo>
                    <a:pt x="96" y="51"/>
                    <a:pt x="97" y="51"/>
                    <a:pt x="98" y="51"/>
                  </a:cubicBezTo>
                  <a:cubicBezTo>
                    <a:pt x="98" y="51"/>
                    <a:pt x="98" y="51"/>
                    <a:pt x="99" y="51"/>
                  </a:cubicBezTo>
                  <a:cubicBezTo>
                    <a:pt x="99" y="52"/>
                    <a:pt x="100" y="53"/>
                    <a:pt x="99" y="60"/>
                  </a:cubicBezTo>
                  <a:cubicBezTo>
                    <a:pt x="98" y="66"/>
                    <a:pt x="94" y="70"/>
                    <a:pt x="92" y="70"/>
                  </a:cubicBezTo>
                  <a:cubicBezTo>
                    <a:pt x="91" y="70"/>
                    <a:pt x="90" y="71"/>
                    <a:pt x="89" y="73"/>
                  </a:cubicBezTo>
                  <a:cubicBezTo>
                    <a:pt x="87" y="79"/>
                    <a:pt x="85" y="84"/>
                    <a:pt x="82" y="88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1" y="92"/>
                    <a:pt x="79" y="104"/>
                    <a:pt x="82" y="111"/>
                  </a:cubicBezTo>
                  <a:cubicBezTo>
                    <a:pt x="82" y="112"/>
                    <a:pt x="83" y="113"/>
                    <a:pt x="83" y="113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3"/>
                    <a:pt x="88" y="95"/>
                    <a:pt x="88" y="91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91" y="87"/>
                    <a:pt x="93" y="82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101" y="75"/>
                    <a:pt x="104" y="67"/>
                    <a:pt x="105" y="61"/>
                  </a:cubicBezTo>
                  <a:cubicBezTo>
                    <a:pt x="106" y="54"/>
                    <a:pt x="106" y="50"/>
                    <a:pt x="104" y="47"/>
                  </a:cubicBezTo>
                  <a:cubicBezTo>
                    <a:pt x="103" y="46"/>
                    <a:pt x="103" y="46"/>
                    <a:pt x="102" y="46"/>
                  </a:cubicBezTo>
                  <a:cubicBezTo>
                    <a:pt x="102" y="46"/>
                    <a:pt x="102" y="46"/>
                    <a:pt x="102" y="46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4" y="35"/>
                    <a:pt x="102" y="24"/>
                    <a:pt x="96" y="16"/>
                  </a:cubicBezTo>
                  <a:cubicBezTo>
                    <a:pt x="89" y="5"/>
                    <a:pt x="77" y="0"/>
                    <a:pt x="62" y="0"/>
                  </a:cubicBezTo>
                  <a:cubicBezTo>
                    <a:pt x="48" y="0"/>
                    <a:pt x="36" y="5"/>
                    <a:pt x="29" y="16"/>
                  </a:cubicBezTo>
                  <a:cubicBezTo>
                    <a:pt x="23" y="24"/>
                    <a:pt x="20" y="35"/>
                    <a:pt x="23" y="45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2" y="46"/>
                    <a:pt x="22" y="46"/>
                    <a:pt x="21" y="47"/>
                  </a:cubicBezTo>
                  <a:cubicBezTo>
                    <a:pt x="19" y="50"/>
                    <a:pt x="18" y="54"/>
                    <a:pt x="19" y="61"/>
                  </a:cubicBezTo>
                  <a:cubicBezTo>
                    <a:pt x="20" y="67"/>
                    <a:pt x="24" y="75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2" y="82"/>
                    <a:pt x="34" y="87"/>
                    <a:pt x="36" y="91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7" y="92"/>
                    <a:pt x="38" y="104"/>
                    <a:pt x="37" y="108"/>
                  </a:cubicBezTo>
                  <a:cubicBezTo>
                    <a:pt x="36" y="110"/>
                    <a:pt x="32" y="111"/>
                    <a:pt x="29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8" y="117"/>
                    <a:pt x="0" y="124"/>
                    <a:pt x="0" y="144"/>
                  </a:cubicBezTo>
                  <a:cubicBezTo>
                    <a:pt x="0" y="144"/>
                    <a:pt x="0" y="148"/>
                    <a:pt x="4" y="148"/>
                  </a:cubicBezTo>
                  <a:cubicBezTo>
                    <a:pt x="90" y="148"/>
                    <a:pt x="90" y="148"/>
                    <a:pt x="90" y="148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7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4C388164-94BB-7E90-6609-B83B2DCE9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59326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24F96084-DF5C-6BC5-392B-923F3C731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789488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4"/>
                    <a:pt x="52" y="2"/>
                  </a:cubicBezTo>
                  <a:cubicBezTo>
                    <a:pt x="52" y="1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2" name="Freeform 20">
              <a:extLst>
                <a:ext uri="{FF2B5EF4-FFF2-40B4-BE49-F238E27FC236}">
                  <a16:creationId xmlns:a16="http://schemas.microsoft.com/office/drawing/2014/main" id="{4C53B8EA-7DD7-FE52-D04E-1F8DBB922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824413"/>
              <a:ext cx="165100" cy="12700"/>
            </a:xfrm>
            <a:custGeom>
              <a:avLst/>
              <a:gdLst>
                <a:gd name="T0" fmla="*/ 48 w 52"/>
                <a:gd name="T1" fmla="*/ 0 h 4"/>
                <a:gd name="T2" fmla="*/ 3 w 52"/>
                <a:gd name="T3" fmla="*/ 0 h 4"/>
                <a:gd name="T4" fmla="*/ 0 w 52"/>
                <a:gd name="T5" fmla="*/ 2 h 4"/>
                <a:gd name="T6" fmla="*/ 3 w 52"/>
                <a:gd name="T7" fmla="*/ 4 h 4"/>
                <a:gd name="T8" fmla="*/ 48 w 52"/>
                <a:gd name="T9" fmla="*/ 4 h 4"/>
                <a:gd name="T10" fmla="*/ 52 w 52"/>
                <a:gd name="T11" fmla="*/ 2 h 4"/>
                <a:gd name="T12" fmla="*/ 48 w 5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4">
                  <a:moveTo>
                    <a:pt x="48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0" y="4"/>
                    <a:pt x="52" y="3"/>
                    <a:pt x="52" y="2"/>
                  </a:cubicBezTo>
                  <a:cubicBezTo>
                    <a:pt x="52" y="0"/>
                    <a:pt x="50" y="0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83" name="Freeform 21">
              <a:extLst>
                <a:ext uri="{FF2B5EF4-FFF2-40B4-BE49-F238E27FC236}">
                  <a16:creationId xmlns:a16="http://schemas.microsoft.com/office/drawing/2014/main" id="{A3A1062B-B0A2-3AA7-07DE-A1F4BF929D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525" y="4679951"/>
              <a:ext cx="274638" cy="246063"/>
            </a:xfrm>
            <a:custGeom>
              <a:avLst/>
              <a:gdLst>
                <a:gd name="T0" fmla="*/ 44 w 87"/>
                <a:gd name="T1" fmla="*/ 0 h 78"/>
                <a:gd name="T2" fmla="*/ 0 w 87"/>
                <a:gd name="T3" fmla="*/ 35 h 78"/>
                <a:gd name="T4" fmla="*/ 12 w 87"/>
                <a:gd name="T5" fmla="*/ 60 h 78"/>
                <a:gd name="T6" fmla="*/ 7 w 87"/>
                <a:gd name="T7" fmla="*/ 78 h 78"/>
                <a:gd name="T8" fmla="*/ 32 w 87"/>
                <a:gd name="T9" fmla="*/ 69 h 78"/>
                <a:gd name="T10" fmla="*/ 32 w 87"/>
                <a:gd name="T11" fmla="*/ 69 h 78"/>
                <a:gd name="T12" fmla="*/ 44 w 87"/>
                <a:gd name="T13" fmla="*/ 71 h 78"/>
                <a:gd name="T14" fmla="*/ 87 w 87"/>
                <a:gd name="T15" fmla="*/ 35 h 78"/>
                <a:gd name="T16" fmla="*/ 44 w 87"/>
                <a:gd name="T17" fmla="*/ 0 h 78"/>
                <a:gd name="T18" fmla="*/ 44 w 87"/>
                <a:gd name="T19" fmla="*/ 65 h 78"/>
                <a:gd name="T20" fmla="*/ 32 w 87"/>
                <a:gd name="T21" fmla="*/ 64 h 78"/>
                <a:gd name="T22" fmla="*/ 30 w 87"/>
                <a:gd name="T23" fmla="*/ 65 h 78"/>
                <a:gd name="T24" fmla="*/ 15 w 87"/>
                <a:gd name="T25" fmla="*/ 70 h 78"/>
                <a:gd name="T26" fmla="*/ 17 w 87"/>
                <a:gd name="T27" fmla="*/ 61 h 78"/>
                <a:gd name="T28" fmla="*/ 15 w 87"/>
                <a:gd name="T29" fmla="*/ 56 h 78"/>
                <a:gd name="T30" fmla="*/ 5 w 87"/>
                <a:gd name="T31" fmla="*/ 35 h 78"/>
                <a:gd name="T32" fmla="*/ 44 w 87"/>
                <a:gd name="T33" fmla="*/ 5 h 78"/>
                <a:gd name="T34" fmla="*/ 82 w 87"/>
                <a:gd name="T35" fmla="*/ 35 h 78"/>
                <a:gd name="T36" fmla="*/ 44 w 87"/>
                <a:gd name="T37" fmla="*/ 6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78">
                  <a:moveTo>
                    <a:pt x="44" y="0"/>
                  </a:moveTo>
                  <a:cubicBezTo>
                    <a:pt x="20" y="0"/>
                    <a:pt x="0" y="16"/>
                    <a:pt x="0" y="35"/>
                  </a:cubicBezTo>
                  <a:cubicBezTo>
                    <a:pt x="0" y="45"/>
                    <a:pt x="4" y="53"/>
                    <a:pt x="12" y="60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5" y="70"/>
                    <a:pt x="39" y="71"/>
                    <a:pt x="44" y="71"/>
                  </a:cubicBezTo>
                  <a:cubicBezTo>
                    <a:pt x="68" y="71"/>
                    <a:pt x="87" y="55"/>
                    <a:pt x="87" y="35"/>
                  </a:cubicBezTo>
                  <a:cubicBezTo>
                    <a:pt x="87" y="16"/>
                    <a:pt x="68" y="0"/>
                    <a:pt x="44" y="0"/>
                  </a:cubicBezTo>
                  <a:close/>
                  <a:moveTo>
                    <a:pt x="44" y="65"/>
                  </a:moveTo>
                  <a:cubicBezTo>
                    <a:pt x="40" y="65"/>
                    <a:pt x="36" y="65"/>
                    <a:pt x="32" y="64"/>
                  </a:cubicBezTo>
                  <a:cubicBezTo>
                    <a:pt x="32" y="64"/>
                    <a:pt x="31" y="64"/>
                    <a:pt x="30" y="65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8" y="59"/>
                    <a:pt x="17" y="57"/>
                    <a:pt x="15" y="56"/>
                  </a:cubicBezTo>
                  <a:cubicBezTo>
                    <a:pt x="9" y="50"/>
                    <a:pt x="5" y="43"/>
                    <a:pt x="5" y="35"/>
                  </a:cubicBezTo>
                  <a:cubicBezTo>
                    <a:pt x="5" y="18"/>
                    <a:pt x="22" y="5"/>
                    <a:pt x="44" y="5"/>
                  </a:cubicBezTo>
                  <a:cubicBezTo>
                    <a:pt x="65" y="5"/>
                    <a:pt x="82" y="18"/>
                    <a:pt x="82" y="35"/>
                  </a:cubicBezTo>
                  <a:cubicBezTo>
                    <a:pt x="82" y="52"/>
                    <a:pt x="65" y="65"/>
                    <a:pt x="4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84" name="Freeform 54">
            <a:extLst>
              <a:ext uri="{FF2B5EF4-FFF2-40B4-BE49-F238E27FC236}">
                <a16:creationId xmlns:a16="http://schemas.microsoft.com/office/drawing/2014/main" id="{45AA777F-8DDA-E86C-F781-8C74FD85E7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2825" y="3948093"/>
            <a:ext cx="232950" cy="232950"/>
          </a:xfrm>
          <a:custGeom>
            <a:avLst/>
            <a:gdLst>
              <a:gd name="T0" fmla="*/ 0 w 171"/>
              <a:gd name="T1" fmla="*/ 85 h 171"/>
              <a:gd name="T2" fmla="*/ 33 w 171"/>
              <a:gd name="T3" fmla="*/ 153 h 171"/>
              <a:gd name="T4" fmla="*/ 43 w 171"/>
              <a:gd name="T5" fmla="*/ 159 h 171"/>
              <a:gd name="T6" fmla="*/ 128 w 171"/>
              <a:gd name="T7" fmla="*/ 159 h 171"/>
              <a:gd name="T8" fmla="*/ 138 w 171"/>
              <a:gd name="T9" fmla="*/ 153 h 171"/>
              <a:gd name="T10" fmla="*/ 171 w 171"/>
              <a:gd name="T11" fmla="*/ 85 h 171"/>
              <a:gd name="T12" fmla="*/ 54 w 171"/>
              <a:gd name="T13" fmla="*/ 133 h 171"/>
              <a:gd name="T14" fmla="*/ 66 w 171"/>
              <a:gd name="T15" fmla="*/ 104 h 171"/>
              <a:gd name="T16" fmla="*/ 60 w 171"/>
              <a:gd name="T17" fmla="*/ 88 h 171"/>
              <a:gd name="T18" fmla="*/ 50 w 171"/>
              <a:gd name="T19" fmla="*/ 76 h 171"/>
              <a:gd name="T20" fmla="*/ 51 w 171"/>
              <a:gd name="T21" fmla="*/ 68 h 171"/>
              <a:gd name="T22" fmla="*/ 54 w 171"/>
              <a:gd name="T23" fmla="*/ 63 h 171"/>
              <a:gd name="T24" fmla="*/ 85 w 171"/>
              <a:gd name="T25" fmla="*/ 25 h 171"/>
              <a:gd name="T26" fmla="*/ 115 w 171"/>
              <a:gd name="T27" fmla="*/ 63 h 171"/>
              <a:gd name="T28" fmla="*/ 118 w 171"/>
              <a:gd name="T29" fmla="*/ 68 h 171"/>
              <a:gd name="T30" fmla="*/ 119 w 171"/>
              <a:gd name="T31" fmla="*/ 76 h 171"/>
              <a:gd name="T32" fmla="*/ 110 w 171"/>
              <a:gd name="T33" fmla="*/ 88 h 171"/>
              <a:gd name="T34" fmla="*/ 103 w 171"/>
              <a:gd name="T35" fmla="*/ 104 h 171"/>
              <a:gd name="T36" fmla="*/ 114 w 171"/>
              <a:gd name="T37" fmla="*/ 132 h 171"/>
              <a:gd name="T38" fmla="*/ 124 w 171"/>
              <a:gd name="T39" fmla="*/ 153 h 171"/>
              <a:gd name="T40" fmla="*/ 85 w 171"/>
              <a:gd name="T41" fmla="*/ 163 h 171"/>
              <a:gd name="T42" fmla="*/ 47 w 171"/>
              <a:gd name="T43" fmla="*/ 153 h 171"/>
              <a:gd name="T44" fmla="*/ 54 w 171"/>
              <a:gd name="T45" fmla="*/ 133 h 171"/>
              <a:gd name="T46" fmla="*/ 110 w 171"/>
              <a:gd name="T47" fmla="*/ 106 h 171"/>
              <a:gd name="T48" fmla="*/ 126 w 171"/>
              <a:gd name="T49" fmla="*/ 77 h 171"/>
              <a:gd name="T50" fmla="*/ 122 w 171"/>
              <a:gd name="T51" fmla="*/ 62 h 171"/>
              <a:gd name="T52" fmla="*/ 85 w 171"/>
              <a:gd name="T53" fmla="*/ 19 h 171"/>
              <a:gd name="T54" fmla="*/ 47 w 171"/>
              <a:gd name="T55" fmla="*/ 62 h 171"/>
              <a:gd name="T56" fmla="*/ 44 w 171"/>
              <a:gd name="T57" fmla="*/ 77 h 171"/>
              <a:gd name="T58" fmla="*/ 60 w 171"/>
              <a:gd name="T59" fmla="*/ 106 h 171"/>
              <a:gd name="T60" fmla="*/ 51 w 171"/>
              <a:gd name="T61" fmla="*/ 127 h 171"/>
              <a:gd name="T62" fmla="*/ 7 w 171"/>
              <a:gd name="T63" fmla="*/ 85 h 171"/>
              <a:gd name="T64" fmla="*/ 163 w 171"/>
              <a:gd name="T65" fmla="*/ 85 h 171"/>
              <a:gd name="T66" fmla="*/ 117 w 171"/>
              <a:gd name="T67" fmla="*/ 126 h 171"/>
              <a:gd name="T68" fmla="*/ 109 w 171"/>
              <a:gd name="T69" fmla="*/ 122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71" h="171">
                <a:moveTo>
                  <a:pt x="85" y="0"/>
                </a:moveTo>
                <a:cubicBezTo>
                  <a:pt x="38" y="0"/>
                  <a:pt x="0" y="38"/>
                  <a:pt x="0" y="85"/>
                </a:cubicBezTo>
                <a:cubicBezTo>
                  <a:pt x="0" y="109"/>
                  <a:pt x="10" y="132"/>
                  <a:pt x="27" y="148"/>
                </a:cubicBezTo>
                <a:cubicBezTo>
                  <a:pt x="29" y="150"/>
                  <a:pt x="31" y="151"/>
                  <a:pt x="33" y="153"/>
                </a:cubicBezTo>
                <a:cubicBezTo>
                  <a:pt x="34" y="154"/>
                  <a:pt x="34" y="154"/>
                  <a:pt x="34" y="154"/>
                </a:cubicBezTo>
                <a:cubicBezTo>
                  <a:pt x="37" y="156"/>
                  <a:pt x="39" y="158"/>
                  <a:pt x="43" y="159"/>
                </a:cubicBezTo>
                <a:cubicBezTo>
                  <a:pt x="55" y="167"/>
                  <a:pt x="70" y="171"/>
                  <a:pt x="85" y="171"/>
                </a:cubicBezTo>
                <a:cubicBezTo>
                  <a:pt x="100" y="171"/>
                  <a:pt x="115" y="167"/>
                  <a:pt x="128" y="159"/>
                </a:cubicBezTo>
                <a:cubicBezTo>
                  <a:pt x="131" y="158"/>
                  <a:pt x="134" y="156"/>
                  <a:pt x="136" y="154"/>
                </a:cubicBezTo>
                <a:cubicBezTo>
                  <a:pt x="138" y="153"/>
                  <a:pt x="138" y="153"/>
                  <a:pt x="138" y="153"/>
                </a:cubicBezTo>
                <a:cubicBezTo>
                  <a:pt x="139" y="151"/>
                  <a:pt x="141" y="150"/>
                  <a:pt x="143" y="148"/>
                </a:cubicBezTo>
                <a:cubicBezTo>
                  <a:pt x="161" y="132"/>
                  <a:pt x="171" y="109"/>
                  <a:pt x="171" y="85"/>
                </a:cubicBezTo>
                <a:cubicBezTo>
                  <a:pt x="171" y="38"/>
                  <a:pt x="132" y="0"/>
                  <a:pt x="85" y="0"/>
                </a:cubicBezTo>
                <a:close/>
                <a:moveTo>
                  <a:pt x="54" y="133"/>
                </a:moveTo>
                <a:cubicBezTo>
                  <a:pt x="59" y="131"/>
                  <a:pt x="64" y="129"/>
                  <a:pt x="66" y="124"/>
                </a:cubicBezTo>
                <a:cubicBezTo>
                  <a:pt x="69" y="118"/>
                  <a:pt x="67" y="106"/>
                  <a:pt x="66" y="104"/>
                </a:cubicBezTo>
                <a:cubicBezTo>
                  <a:pt x="66" y="104"/>
                  <a:pt x="66" y="103"/>
                  <a:pt x="66" y="103"/>
                </a:cubicBezTo>
                <a:cubicBezTo>
                  <a:pt x="63" y="99"/>
                  <a:pt x="61" y="94"/>
                  <a:pt x="60" y="88"/>
                </a:cubicBezTo>
                <a:cubicBezTo>
                  <a:pt x="59" y="87"/>
                  <a:pt x="58" y="86"/>
                  <a:pt x="56" y="86"/>
                </a:cubicBezTo>
                <a:cubicBezTo>
                  <a:pt x="55" y="86"/>
                  <a:pt x="51" y="82"/>
                  <a:pt x="50" y="76"/>
                </a:cubicBezTo>
                <a:cubicBezTo>
                  <a:pt x="49" y="70"/>
                  <a:pt x="50" y="68"/>
                  <a:pt x="51" y="68"/>
                </a:cubicBezTo>
                <a:cubicBezTo>
                  <a:pt x="51" y="68"/>
                  <a:pt x="51" y="68"/>
                  <a:pt x="51" y="68"/>
                </a:cubicBezTo>
                <a:cubicBezTo>
                  <a:pt x="52" y="68"/>
                  <a:pt x="53" y="67"/>
                  <a:pt x="54" y="66"/>
                </a:cubicBezTo>
                <a:cubicBezTo>
                  <a:pt x="54" y="66"/>
                  <a:pt x="55" y="64"/>
                  <a:pt x="54" y="63"/>
                </a:cubicBezTo>
                <a:cubicBezTo>
                  <a:pt x="51" y="55"/>
                  <a:pt x="53" y="45"/>
                  <a:pt x="58" y="38"/>
                </a:cubicBezTo>
                <a:cubicBezTo>
                  <a:pt x="64" y="30"/>
                  <a:pt x="73" y="25"/>
                  <a:pt x="85" y="25"/>
                </a:cubicBezTo>
                <a:cubicBezTo>
                  <a:pt x="96" y="25"/>
                  <a:pt x="106" y="30"/>
                  <a:pt x="111" y="38"/>
                </a:cubicBezTo>
                <a:cubicBezTo>
                  <a:pt x="117" y="45"/>
                  <a:pt x="118" y="55"/>
                  <a:pt x="115" y="63"/>
                </a:cubicBezTo>
                <a:cubicBezTo>
                  <a:pt x="115" y="64"/>
                  <a:pt x="115" y="66"/>
                  <a:pt x="116" y="66"/>
                </a:cubicBezTo>
                <a:cubicBezTo>
                  <a:pt x="116" y="67"/>
                  <a:pt x="117" y="68"/>
                  <a:pt x="118" y="68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8"/>
                  <a:pt x="120" y="70"/>
                  <a:pt x="119" y="76"/>
                </a:cubicBezTo>
                <a:cubicBezTo>
                  <a:pt x="118" y="82"/>
                  <a:pt x="115" y="86"/>
                  <a:pt x="113" y="86"/>
                </a:cubicBezTo>
                <a:cubicBezTo>
                  <a:pt x="112" y="86"/>
                  <a:pt x="110" y="87"/>
                  <a:pt x="110" y="88"/>
                </a:cubicBezTo>
                <a:cubicBezTo>
                  <a:pt x="108" y="94"/>
                  <a:pt x="106" y="99"/>
                  <a:pt x="103" y="103"/>
                </a:cubicBezTo>
                <a:cubicBezTo>
                  <a:pt x="103" y="103"/>
                  <a:pt x="103" y="104"/>
                  <a:pt x="103" y="104"/>
                </a:cubicBezTo>
                <a:cubicBezTo>
                  <a:pt x="103" y="106"/>
                  <a:pt x="101" y="118"/>
                  <a:pt x="103" y="124"/>
                </a:cubicBezTo>
                <a:cubicBezTo>
                  <a:pt x="105" y="128"/>
                  <a:pt x="109" y="130"/>
                  <a:pt x="114" y="132"/>
                </a:cubicBezTo>
                <a:cubicBezTo>
                  <a:pt x="124" y="135"/>
                  <a:pt x="131" y="140"/>
                  <a:pt x="134" y="146"/>
                </a:cubicBezTo>
                <a:cubicBezTo>
                  <a:pt x="131" y="148"/>
                  <a:pt x="127" y="151"/>
                  <a:pt x="124" y="153"/>
                </a:cubicBezTo>
                <a:cubicBezTo>
                  <a:pt x="120" y="155"/>
                  <a:pt x="116" y="157"/>
                  <a:pt x="112" y="158"/>
                </a:cubicBezTo>
                <a:cubicBezTo>
                  <a:pt x="103" y="162"/>
                  <a:pt x="94" y="163"/>
                  <a:pt x="85" y="163"/>
                </a:cubicBezTo>
                <a:cubicBezTo>
                  <a:pt x="76" y="163"/>
                  <a:pt x="67" y="162"/>
                  <a:pt x="58" y="158"/>
                </a:cubicBezTo>
                <a:cubicBezTo>
                  <a:pt x="54" y="157"/>
                  <a:pt x="50" y="155"/>
                  <a:pt x="47" y="153"/>
                </a:cubicBezTo>
                <a:cubicBezTo>
                  <a:pt x="43" y="151"/>
                  <a:pt x="39" y="148"/>
                  <a:pt x="36" y="146"/>
                </a:cubicBezTo>
                <a:cubicBezTo>
                  <a:pt x="39" y="141"/>
                  <a:pt x="45" y="137"/>
                  <a:pt x="54" y="133"/>
                </a:cubicBezTo>
                <a:close/>
                <a:moveTo>
                  <a:pt x="109" y="122"/>
                </a:moveTo>
                <a:cubicBezTo>
                  <a:pt x="108" y="117"/>
                  <a:pt x="109" y="107"/>
                  <a:pt x="110" y="106"/>
                </a:cubicBezTo>
                <a:cubicBezTo>
                  <a:pt x="112" y="102"/>
                  <a:pt x="114" y="97"/>
                  <a:pt x="116" y="92"/>
                </a:cubicBezTo>
                <a:cubicBezTo>
                  <a:pt x="121" y="90"/>
                  <a:pt x="125" y="83"/>
                  <a:pt x="126" y="77"/>
                </a:cubicBezTo>
                <a:cubicBezTo>
                  <a:pt x="127" y="70"/>
                  <a:pt x="126" y="66"/>
                  <a:pt x="124" y="64"/>
                </a:cubicBezTo>
                <a:cubicBezTo>
                  <a:pt x="123" y="63"/>
                  <a:pt x="123" y="63"/>
                  <a:pt x="122" y="62"/>
                </a:cubicBezTo>
                <a:cubicBezTo>
                  <a:pt x="125" y="52"/>
                  <a:pt x="123" y="42"/>
                  <a:pt x="117" y="34"/>
                </a:cubicBezTo>
                <a:cubicBezTo>
                  <a:pt x="110" y="24"/>
                  <a:pt x="98" y="19"/>
                  <a:pt x="85" y="19"/>
                </a:cubicBezTo>
                <a:cubicBezTo>
                  <a:pt x="71" y="19"/>
                  <a:pt x="59" y="24"/>
                  <a:pt x="52" y="34"/>
                </a:cubicBezTo>
                <a:cubicBezTo>
                  <a:pt x="47" y="42"/>
                  <a:pt x="45" y="52"/>
                  <a:pt x="47" y="62"/>
                </a:cubicBezTo>
                <a:cubicBezTo>
                  <a:pt x="46" y="63"/>
                  <a:pt x="46" y="63"/>
                  <a:pt x="45" y="64"/>
                </a:cubicBezTo>
                <a:cubicBezTo>
                  <a:pt x="43" y="66"/>
                  <a:pt x="43" y="70"/>
                  <a:pt x="44" y="77"/>
                </a:cubicBezTo>
                <a:cubicBezTo>
                  <a:pt x="45" y="83"/>
                  <a:pt x="48" y="90"/>
                  <a:pt x="54" y="92"/>
                </a:cubicBezTo>
                <a:cubicBezTo>
                  <a:pt x="55" y="97"/>
                  <a:pt x="58" y="102"/>
                  <a:pt x="60" y="106"/>
                </a:cubicBezTo>
                <a:cubicBezTo>
                  <a:pt x="61" y="110"/>
                  <a:pt x="61" y="118"/>
                  <a:pt x="60" y="122"/>
                </a:cubicBezTo>
                <a:cubicBezTo>
                  <a:pt x="59" y="124"/>
                  <a:pt x="55" y="125"/>
                  <a:pt x="51" y="127"/>
                </a:cubicBezTo>
                <a:cubicBezTo>
                  <a:pt x="41" y="130"/>
                  <a:pt x="35" y="135"/>
                  <a:pt x="31" y="141"/>
                </a:cubicBezTo>
                <a:cubicBezTo>
                  <a:pt x="15" y="126"/>
                  <a:pt x="7" y="106"/>
                  <a:pt x="7" y="85"/>
                </a:cubicBezTo>
                <a:cubicBezTo>
                  <a:pt x="7" y="42"/>
                  <a:pt x="42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06"/>
                  <a:pt x="155" y="126"/>
                  <a:pt x="140" y="141"/>
                </a:cubicBezTo>
                <a:cubicBezTo>
                  <a:pt x="134" y="133"/>
                  <a:pt x="123" y="129"/>
                  <a:pt x="117" y="126"/>
                </a:cubicBezTo>
                <a:cubicBezTo>
                  <a:pt x="117" y="126"/>
                  <a:pt x="117" y="126"/>
                  <a:pt x="117" y="126"/>
                </a:cubicBezTo>
                <a:cubicBezTo>
                  <a:pt x="113" y="125"/>
                  <a:pt x="110" y="123"/>
                  <a:pt x="109" y="1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85" name="Freeform 54">
            <a:extLst>
              <a:ext uri="{FF2B5EF4-FFF2-40B4-BE49-F238E27FC236}">
                <a16:creationId xmlns:a16="http://schemas.microsoft.com/office/drawing/2014/main" id="{1B545B62-B618-ED72-49E9-88DA05A844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11756" y="5980442"/>
            <a:ext cx="232950" cy="232950"/>
          </a:xfrm>
          <a:custGeom>
            <a:avLst/>
            <a:gdLst>
              <a:gd name="T0" fmla="*/ 0 w 171"/>
              <a:gd name="T1" fmla="*/ 85 h 171"/>
              <a:gd name="T2" fmla="*/ 33 w 171"/>
              <a:gd name="T3" fmla="*/ 153 h 171"/>
              <a:gd name="T4" fmla="*/ 43 w 171"/>
              <a:gd name="T5" fmla="*/ 159 h 171"/>
              <a:gd name="T6" fmla="*/ 128 w 171"/>
              <a:gd name="T7" fmla="*/ 159 h 171"/>
              <a:gd name="T8" fmla="*/ 138 w 171"/>
              <a:gd name="T9" fmla="*/ 153 h 171"/>
              <a:gd name="T10" fmla="*/ 171 w 171"/>
              <a:gd name="T11" fmla="*/ 85 h 171"/>
              <a:gd name="T12" fmla="*/ 54 w 171"/>
              <a:gd name="T13" fmla="*/ 133 h 171"/>
              <a:gd name="T14" fmla="*/ 66 w 171"/>
              <a:gd name="T15" fmla="*/ 104 h 171"/>
              <a:gd name="T16" fmla="*/ 60 w 171"/>
              <a:gd name="T17" fmla="*/ 88 h 171"/>
              <a:gd name="T18" fmla="*/ 50 w 171"/>
              <a:gd name="T19" fmla="*/ 76 h 171"/>
              <a:gd name="T20" fmla="*/ 51 w 171"/>
              <a:gd name="T21" fmla="*/ 68 h 171"/>
              <a:gd name="T22" fmla="*/ 54 w 171"/>
              <a:gd name="T23" fmla="*/ 63 h 171"/>
              <a:gd name="T24" fmla="*/ 85 w 171"/>
              <a:gd name="T25" fmla="*/ 25 h 171"/>
              <a:gd name="T26" fmla="*/ 115 w 171"/>
              <a:gd name="T27" fmla="*/ 63 h 171"/>
              <a:gd name="T28" fmla="*/ 118 w 171"/>
              <a:gd name="T29" fmla="*/ 68 h 171"/>
              <a:gd name="T30" fmla="*/ 119 w 171"/>
              <a:gd name="T31" fmla="*/ 76 h 171"/>
              <a:gd name="T32" fmla="*/ 110 w 171"/>
              <a:gd name="T33" fmla="*/ 88 h 171"/>
              <a:gd name="T34" fmla="*/ 103 w 171"/>
              <a:gd name="T35" fmla="*/ 104 h 171"/>
              <a:gd name="T36" fmla="*/ 114 w 171"/>
              <a:gd name="T37" fmla="*/ 132 h 171"/>
              <a:gd name="T38" fmla="*/ 124 w 171"/>
              <a:gd name="T39" fmla="*/ 153 h 171"/>
              <a:gd name="T40" fmla="*/ 85 w 171"/>
              <a:gd name="T41" fmla="*/ 163 h 171"/>
              <a:gd name="T42" fmla="*/ 47 w 171"/>
              <a:gd name="T43" fmla="*/ 153 h 171"/>
              <a:gd name="T44" fmla="*/ 54 w 171"/>
              <a:gd name="T45" fmla="*/ 133 h 171"/>
              <a:gd name="T46" fmla="*/ 110 w 171"/>
              <a:gd name="T47" fmla="*/ 106 h 171"/>
              <a:gd name="T48" fmla="*/ 126 w 171"/>
              <a:gd name="T49" fmla="*/ 77 h 171"/>
              <a:gd name="T50" fmla="*/ 122 w 171"/>
              <a:gd name="T51" fmla="*/ 62 h 171"/>
              <a:gd name="T52" fmla="*/ 85 w 171"/>
              <a:gd name="T53" fmla="*/ 19 h 171"/>
              <a:gd name="T54" fmla="*/ 47 w 171"/>
              <a:gd name="T55" fmla="*/ 62 h 171"/>
              <a:gd name="T56" fmla="*/ 44 w 171"/>
              <a:gd name="T57" fmla="*/ 77 h 171"/>
              <a:gd name="T58" fmla="*/ 60 w 171"/>
              <a:gd name="T59" fmla="*/ 106 h 171"/>
              <a:gd name="T60" fmla="*/ 51 w 171"/>
              <a:gd name="T61" fmla="*/ 127 h 171"/>
              <a:gd name="T62" fmla="*/ 7 w 171"/>
              <a:gd name="T63" fmla="*/ 85 h 171"/>
              <a:gd name="T64" fmla="*/ 163 w 171"/>
              <a:gd name="T65" fmla="*/ 85 h 171"/>
              <a:gd name="T66" fmla="*/ 117 w 171"/>
              <a:gd name="T67" fmla="*/ 126 h 171"/>
              <a:gd name="T68" fmla="*/ 109 w 171"/>
              <a:gd name="T69" fmla="*/ 122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71" h="171">
                <a:moveTo>
                  <a:pt x="85" y="0"/>
                </a:moveTo>
                <a:cubicBezTo>
                  <a:pt x="38" y="0"/>
                  <a:pt x="0" y="38"/>
                  <a:pt x="0" y="85"/>
                </a:cubicBezTo>
                <a:cubicBezTo>
                  <a:pt x="0" y="109"/>
                  <a:pt x="10" y="132"/>
                  <a:pt x="27" y="148"/>
                </a:cubicBezTo>
                <a:cubicBezTo>
                  <a:pt x="29" y="150"/>
                  <a:pt x="31" y="151"/>
                  <a:pt x="33" y="153"/>
                </a:cubicBezTo>
                <a:cubicBezTo>
                  <a:pt x="34" y="154"/>
                  <a:pt x="34" y="154"/>
                  <a:pt x="34" y="154"/>
                </a:cubicBezTo>
                <a:cubicBezTo>
                  <a:pt x="37" y="156"/>
                  <a:pt x="39" y="158"/>
                  <a:pt x="43" y="159"/>
                </a:cubicBezTo>
                <a:cubicBezTo>
                  <a:pt x="55" y="167"/>
                  <a:pt x="70" y="171"/>
                  <a:pt x="85" y="171"/>
                </a:cubicBezTo>
                <a:cubicBezTo>
                  <a:pt x="100" y="171"/>
                  <a:pt x="115" y="167"/>
                  <a:pt x="128" y="159"/>
                </a:cubicBezTo>
                <a:cubicBezTo>
                  <a:pt x="131" y="158"/>
                  <a:pt x="134" y="156"/>
                  <a:pt x="136" y="154"/>
                </a:cubicBezTo>
                <a:cubicBezTo>
                  <a:pt x="138" y="153"/>
                  <a:pt x="138" y="153"/>
                  <a:pt x="138" y="153"/>
                </a:cubicBezTo>
                <a:cubicBezTo>
                  <a:pt x="139" y="151"/>
                  <a:pt x="141" y="150"/>
                  <a:pt x="143" y="148"/>
                </a:cubicBezTo>
                <a:cubicBezTo>
                  <a:pt x="161" y="132"/>
                  <a:pt x="171" y="109"/>
                  <a:pt x="171" y="85"/>
                </a:cubicBezTo>
                <a:cubicBezTo>
                  <a:pt x="171" y="38"/>
                  <a:pt x="132" y="0"/>
                  <a:pt x="85" y="0"/>
                </a:cubicBezTo>
                <a:close/>
                <a:moveTo>
                  <a:pt x="54" y="133"/>
                </a:moveTo>
                <a:cubicBezTo>
                  <a:pt x="59" y="131"/>
                  <a:pt x="64" y="129"/>
                  <a:pt x="66" y="124"/>
                </a:cubicBezTo>
                <a:cubicBezTo>
                  <a:pt x="69" y="118"/>
                  <a:pt x="67" y="106"/>
                  <a:pt x="66" y="104"/>
                </a:cubicBezTo>
                <a:cubicBezTo>
                  <a:pt x="66" y="104"/>
                  <a:pt x="66" y="103"/>
                  <a:pt x="66" y="103"/>
                </a:cubicBezTo>
                <a:cubicBezTo>
                  <a:pt x="63" y="99"/>
                  <a:pt x="61" y="94"/>
                  <a:pt x="60" y="88"/>
                </a:cubicBezTo>
                <a:cubicBezTo>
                  <a:pt x="59" y="87"/>
                  <a:pt x="58" y="86"/>
                  <a:pt x="56" y="86"/>
                </a:cubicBezTo>
                <a:cubicBezTo>
                  <a:pt x="55" y="86"/>
                  <a:pt x="51" y="82"/>
                  <a:pt x="50" y="76"/>
                </a:cubicBezTo>
                <a:cubicBezTo>
                  <a:pt x="49" y="70"/>
                  <a:pt x="50" y="68"/>
                  <a:pt x="51" y="68"/>
                </a:cubicBezTo>
                <a:cubicBezTo>
                  <a:pt x="51" y="68"/>
                  <a:pt x="51" y="68"/>
                  <a:pt x="51" y="68"/>
                </a:cubicBezTo>
                <a:cubicBezTo>
                  <a:pt x="52" y="68"/>
                  <a:pt x="53" y="67"/>
                  <a:pt x="54" y="66"/>
                </a:cubicBezTo>
                <a:cubicBezTo>
                  <a:pt x="54" y="66"/>
                  <a:pt x="55" y="64"/>
                  <a:pt x="54" y="63"/>
                </a:cubicBezTo>
                <a:cubicBezTo>
                  <a:pt x="51" y="55"/>
                  <a:pt x="53" y="45"/>
                  <a:pt x="58" y="38"/>
                </a:cubicBezTo>
                <a:cubicBezTo>
                  <a:pt x="64" y="30"/>
                  <a:pt x="73" y="25"/>
                  <a:pt x="85" y="25"/>
                </a:cubicBezTo>
                <a:cubicBezTo>
                  <a:pt x="96" y="25"/>
                  <a:pt x="106" y="30"/>
                  <a:pt x="111" y="38"/>
                </a:cubicBezTo>
                <a:cubicBezTo>
                  <a:pt x="117" y="45"/>
                  <a:pt x="118" y="55"/>
                  <a:pt x="115" y="63"/>
                </a:cubicBezTo>
                <a:cubicBezTo>
                  <a:pt x="115" y="64"/>
                  <a:pt x="115" y="66"/>
                  <a:pt x="116" y="66"/>
                </a:cubicBezTo>
                <a:cubicBezTo>
                  <a:pt x="116" y="67"/>
                  <a:pt x="117" y="68"/>
                  <a:pt x="118" y="68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8"/>
                  <a:pt x="120" y="70"/>
                  <a:pt x="119" y="76"/>
                </a:cubicBezTo>
                <a:cubicBezTo>
                  <a:pt x="118" y="82"/>
                  <a:pt x="115" y="86"/>
                  <a:pt x="113" y="86"/>
                </a:cubicBezTo>
                <a:cubicBezTo>
                  <a:pt x="112" y="86"/>
                  <a:pt x="110" y="87"/>
                  <a:pt x="110" y="88"/>
                </a:cubicBezTo>
                <a:cubicBezTo>
                  <a:pt x="108" y="94"/>
                  <a:pt x="106" y="99"/>
                  <a:pt x="103" y="103"/>
                </a:cubicBezTo>
                <a:cubicBezTo>
                  <a:pt x="103" y="103"/>
                  <a:pt x="103" y="104"/>
                  <a:pt x="103" y="104"/>
                </a:cubicBezTo>
                <a:cubicBezTo>
                  <a:pt x="103" y="106"/>
                  <a:pt x="101" y="118"/>
                  <a:pt x="103" y="124"/>
                </a:cubicBezTo>
                <a:cubicBezTo>
                  <a:pt x="105" y="128"/>
                  <a:pt x="109" y="130"/>
                  <a:pt x="114" y="132"/>
                </a:cubicBezTo>
                <a:cubicBezTo>
                  <a:pt x="124" y="135"/>
                  <a:pt x="131" y="140"/>
                  <a:pt x="134" y="146"/>
                </a:cubicBezTo>
                <a:cubicBezTo>
                  <a:pt x="131" y="148"/>
                  <a:pt x="127" y="151"/>
                  <a:pt x="124" y="153"/>
                </a:cubicBezTo>
                <a:cubicBezTo>
                  <a:pt x="120" y="155"/>
                  <a:pt x="116" y="157"/>
                  <a:pt x="112" y="158"/>
                </a:cubicBezTo>
                <a:cubicBezTo>
                  <a:pt x="103" y="162"/>
                  <a:pt x="94" y="163"/>
                  <a:pt x="85" y="163"/>
                </a:cubicBezTo>
                <a:cubicBezTo>
                  <a:pt x="76" y="163"/>
                  <a:pt x="67" y="162"/>
                  <a:pt x="58" y="158"/>
                </a:cubicBezTo>
                <a:cubicBezTo>
                  <a:pt x="54" y="157"/>
                  <a:pt x="50" y="155"/>
                  <a:pt x="47" y="153"/>
                </a:cubicBezTo>
                <a:cubicBezTo>
                  <a:pt x="43" y="151"/>
                  <a:pt x="39" y="148"/>
                  <a:pt x="36" y="146"/>
                </a:cubicBezTo>
                <a:cubicBezTo>
                  <a:pt x="39" y="141"/>
                  <a:pt x="45" y="137"/>
                  <a:pt x="54" y="133"/>
                </a:cubicBezTo>
                <a:close/>
                <a:moveTo>
                  <a:pt x="109" y="122"/>
                </a:moveTo>
                <a:cubicBezTo>
                  <a:pt x="108" y="117"/>
                  <a:pt x="109" y="107"/>
                  <a:pt x="110" y="106"/>
                </a:cubicBezTo>
                <a:cubicBezTo>
                  <a:pt x="112" y="102"/>
                  <a:pt x="114" y="97"/>
                  <a:pt x="116" y="92"/>
                </a:cubicBezTo>
                <a:cubicBezTo>
                  <a:pt x="121" y="90"/>
                  <a:pt x="125" y="83"/>
                  <a:pt x="126" y="77"/>
                </a:cubicBezTo>
                <a:cubicBezTo>
                  <a:pt x="127" y="70"/>
                  <a:pt x="126" y="66"/>
                  <a:pt x="124" y="64"/>
                </a:cubicBezTo>
                <a:cubicBezTo>
                  <a:pt x="123" y="63"/>
                  <a:pt x="123" y="63"/>
                  <a:pt x="122" y="62"/>
                </a:cubicBezTo>
                <a:cubicBezTo>
                  <a:pt x="125" y="52"/>
                  <a:pt x="123" y="42"/>
                  <a:pt x="117" y="34"/>
                </a:cubicBezTo>
                <a:cubicBezTo>
                  <a:pt x="110" y="24"/>
                  <a:pt x="98" y="19"/>
                  <a:pt x="85" y="19"/>
                </a:cubicBezTo>
                <a:cubicBezTo>
                  <a:pt x="71" y="19"/>
                  <a:pt x="59" y="24"/>
                  <a:pt x="52" y="34"/>
                </a:cubicBezTo>
                <a:cubicBezTo>
                  <a:pt x="47" y="42"/>
                  <a:pt x="45" y="52"/>
                  <a:pt x="47" y="62"/>
                </a:cubicBezTo>
                <a:cubicBezTo>
                  <a:pt x="46" y="63"/>
                  <a:pt x="46" y="63"/>
                  <a:pt x="45" y="64"/>
                </a:cubicBezTo>
                <a:cubicBezTo>
                  <a:pt x="43" y="66"/>
                  <a:pt x="43" y="70"/>
                  <a:pt x="44" y="77"/>
                </a:cubicBezTo>
                <a:cubicBezTo>
                  <a:pt x="45" y="83"/>
                  <a:pt x="48" y="90"/>
                  <a:pt x="54" y="92"/>
                </a:cubicBezTo>
                <a:cubicBezTo>
                  <a:pt x="55" y="97"/>
                  <a:pt x="58" y="102"/>
                  <a:pt x="60" y="106"/>
                </a:cubicBezTo>
                <a:cubicBezTo>
                  <a:pt x="61" y="110"/>
                  <a:pt x="61" y="118"/>
                  <a:pt x="60" y="122"/>
                </a:cubicBezTo>
                <a:cubicBezTo>
                  <a:pt x="59" y="124"/>
                  <a:pt x="55" y="125"/>
                  <a:pt x="51" y="127"/>
                </a:cubicBezTo>
                <a:cubicBezTo>
                  <a:pt x="41" y="130"/>
                  <a:pt x="35" y="135"/>
                  <a:pt x="31" y="141"/>
                </a:cubicBezTo>
                <a:cubicBezTo>
                  <a:pt x="15" y="126"/>
                  <a:pt x="7" y="106"/>
                  <a:pt x="7" y="85"/>
                </a:cubicBezTo>
                <a:cubicBezTo>
                  <a:pt x="7" y="42"/>
                  <a:pt x="42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06"/>
                  <a:pt x="155" y="126"/>
                  <a:pt x="140" y="141"/>
                </a:cubicBezTo>
                <a:cubicBezTo>
                  <a:pt x="134" y="133"/>
                  <a:pt x="123" y="129"/>
                  <a:pt x="117" y="126"/>
                </a:cubicBezTo>
                <a:cubicBezTo>
                  <a:pt x="117" y="126"/>
                  <a:pt x="117" y="126"/>
                  <a:pt x="117" y="126"/>
                </a:cubicBezTo>
                <a:cubicBezTo>
                  <a:pt x="113" y="125"/>
                  <a:pt x="110" y="123"/>
                  <a:pt x="109" y="1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86" name="Freeform 54">
            <a:extLst>
              <a:ext uri="{FF2B5EF4-FFF2-40B4-BE49-F238E27FC236}">
                <a16:creationId xmlns:a16="http://schemas.microsoft.com/office/drawing/2014/main" id="{7C6A4874-938A-303F-A3C7-2B7C16257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390611" y="5984676"/>
            <a:ext cx="232950" cy="232950"/>
          </a:xfrm>
          <a:custGeom>
            <a:avLst/>
            <a:gdLst>
              <a:gd name="T0" fmla="*/ 0 w 171"/>
              <a:gd name="T1" fmla="*/ 85 h 171"/>
              <a:gd name="T2" fmla="*/ 33 w 171"/>
              <a:gd name="T3" fmla="*/ 153 h 171"/>
              <a:gd name="T4" fmla="*/ 43 w 171"/>
              <a:gd name="T5" fmla="*/ 159 h 171"/>
              <a:gd name="T6" fmla="*/ 128 w 171"/>
              <a:gd name="T7" fmla="*/ 159 h 171"/>
              <a:gd name="T8" fmla="*/ 138 w 171"/>
              <a:gd name="T9" fmla="*/ 153 h 171"/>
              <a:gd name="T10" fmla="*/ 171 w 171"/>
              <a:gd name="T11" fmla="*/ 85 h 171"/>
              <a:gd name="T12" fmla="*/ 54 w 171"/>
              <a:gd name="T13" fmla="*/ 133 h 171"/>
              <a:gd name="T14" fmla="*/ 66 w 171"/>
              <a:gd name="T15" fmla="*/ 104 h 171"/>
              <a:gd name="T16" fmla="*/ 60 w 171"/>
              <a:gd name="T17" fmla="*/ 88 h 171"/>
              <a:gd name="T18" fmla="*/ 50 w 171"/>
              <a:gd name="T19" fmla="*/ 76 h 171"/>
              <a:gd name="T20" fmla="*/ 51 w 171"/>
              <a:gd name="T21" fmla="*/ 68 h 171"/>
              <a:gd name="T22" fmla="*/ 54 w 171"/>
              <a:gd name="T23" fmla="*/ 63 h 171"/>
              <a:gd name="T24" fmla="*/ 85 w 171"/>
              <a:gd name="T25" fmla="*/ 25 h 171"/>
              <a:gd name="T26" fmla="*/ 115 w 171"/>
              <a:gd name="T27" fmla="*/ 63 h 171"/>
              <a:gd name="T28" fmla="*/ 118 w 171"/>
              <a:gd name="T29" fmla="*/ 68 h 171"/>
              <a:gd name="T30" fmla="*/ 119 w 171"/>
              <a:gd name="T31" fmla="*/ 76 h 171"/>
              <a:gd name="T32" fmla="*/ 110 w 171"/>
              <a:gd name="T33" fmla="*/ 88 h 171"/>
              <a:gd name="T34" fmla="*/ 103 w 171"/>
              <a:gd name="T35" fmla="*/ 104 h 171"/>
              <a:gd name="T36" fmla="*/ 114 w 171"/>
              <a:gd name="T37" fmla="*/ 132 h 171"/>
              <a:gd name="T38" fmla="*/ 124 w 171"/>
              <a:gd name="T39" fmla="*/ 153 h 171"/>
              <a:gd name="T40" fmla="*/ 85 w 171"/>
              <a:gd name="T41" fmla="*/ 163 h 171"/>
              <a:gd name="T42" fmla="*/ 47 w 171"/>
              <a:gd name="T43" fmla="*/ 153 h 171"/>
              <a:gd name="T44" fmla="*/ 54 w 171"/>
              <a:gd name="T45" fmla="*/ 133 h 171"/>
              <a:gd name="T46" fmla="*/ 110 w 171"/>
              <a:gd name="T47" fmla="*/ 106 h 171"/>
              <a:gd name="T48" fmla="*/ 126 w 171"/>
              <a:gd name="T49" fmla="*/ 77 h 171"/>
              <a:gd name="T50" fmla="*/ 122 w 171"/>
              <a:gd name="T51" fmla="*/ 62 h 171"/>
              <a:gd name="T52" fmla="*/ 85 w 171"/>
              <a:gd name="T53" fmla="*/ 19 h 171"/>
              <a:gd name="T54" fmla="*/ 47 w 171"/>
              <a:gd name="T55" fmla="*/ 62 h 171"/>
              <a:gd name="T56" fmla="*/ 44 w 171"/>
              <a:gd name="T57" fmla="*/ 77 h 171"/>
              <a:gd name="T58" fmla="*/ 60 w 171"/>
              <a:gd name="T59" fmla="*/ 106 h 171"/>
              <a:gd name="T60" fmla="*/ 51 w 171"/>
              <a:gd name="T61" fmla="*/ 127 h 171"/>
              <a:gd name="T62" fmla="*/ 7 w 171"/>
              <a:gd name="T63" fmla="*/ 85 h 171"/>
              <a:gd name="T64" fmla="*/ 163 w 171"/>
              <a:gd name="T65" fmla="*/ 85 h 171"/>
              <a:gd name="T66" fmla="*/ 117 w 171"/>
              <a:gd name="T67" fmla="*/ 126 h 171"/>
              <a:gd name="T68" fmla="*/ 109 w 171"/>
              <a:gd name="T69" fmla="*/ 122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71" h="171">
                <a:moveTo>
                  <a:pt x="85" y="0"/>
                </a:moveTo>
                <a:cubicBezTo>
                  <a:pt x="38" y="0"/>
                  <a:pt x="0" y="38"/>
                  <a:pt x="0" y="85"/>
                </a:cubicBezTo>
                <a:cubicBezTo>
                  <a:pt x="0" y="109"/>
                  <a:pt x="10" y="132"/>
                  <a:pt x="27" y="148"/>
                </a:cubicBezTo>
                <a:cubicBezTo>
                  <a:pt x="29" y="150"/>
                  <a:pt x="31" y="151"/>
                  <a:pt x="33" y="153"/>
                </a:cubicBezTo>
                <a:cubicBezTo>
                  <a:pt x="34" y="154"/>
                  <a:pt x="34" y="154"/>
                  <a:pt x="34" y="154"/>
                </a:cubicBezTo>
                <a:cubicBezTo>
                  <a:pt x="37" y="156"/>
                  <a:pt x="39" y="158"/>
                  <a:pt x="43" y="159"/>
                </a:cubicBezTo>
                <a:cubicBezTo>
                  <a:pt x="55" y="167"/>
                  <a:pt x="70" y="171"/>
                  <a:pt x="85" y="171"/>
                </a:cubicBezTo>
                <a:cubicBezTo>
                  <a:pt x="100" y="171"/>
                  <a:pt x="115" y="167"/>
                  <a:pt x="128" y="159"/>
                </a:cubicBezTo>
                <a:cubicBezTo>
                  <a:pt x="131" y="158"/>
                  <a:pt x="134" y="156"/>
                  <a:pt x="136" y="154"/>
                </a:cubicBezTo>
                <a:cubicBezTo>
                  <a:pt x="138" y="153"/>
                  <a:pt x="138" y="153"/>
                  <a:pt x="138" y="153"/>
                </a:cubicBezTo>
                <a:cubicBezTo>
                  <a:pt x="139" y="151"/>
                  <a:pt x="141" y="150"/>
                  <a:pt x="143" y="148"/>
                </a:cubicBezTo>
                <a:cubicBezTo>
                  <a:pt x="161" y="132"/>
                  <a:pt x="171" y="109"/>
                  <a:pt x="171" y="85"/>
                </a:cubicBezTo>
                <a:cubicBezTo>
                  <a:pt x="171" y="38"/>
                  <a:pt x="132" y="0"/>
                  <a:pt x="85" y="0"/>
                </a:cubicBezTo>
                <a:close/>
                <a:moveTo>
                  <a:pt x="54" y="133"/>
                </a:moveTo>
                <a:cubicBezTo>
                  <a:pt x="59" y="131"/>
                  <a:pt x="64" y="129"/>
                  <a:pt x="66" y="124"/>
                </a:cubicBezTo>
                <a:cubicBezTo>
                  <a:pt x="69" y="118"/>
                  <a:pt x="67" y="106"/>
                  <a:pt x="66" y="104"/>
                </a:cubicBezTo>
                <a:cubicBezTo>
                  <a:pt x="66" y="104"/>
                  <a:pt x="66" y="103"/>
                  <a:pt x="66" y="103"/>
                </a:cubicBezTo>
                <a:cubicBezTo>
                  <a:pt x="63" y="99"/>
                  <a:pt x="61" y="94"/>
                  <a:pt x="60" y="88"/>
                </a:cubicBezTo>
                <a:cubicBezTo>
                  <a:pt x="59" y="87"/>
                  <a:pt x="58" y="86"/>
                  <a:pt x="56" y="86"/>
                </a:cubicBezTo>
                <a:cubicBezTo>
                  <a:pt x="55" y="86"/>
                  <a:pt x="51" y="82"/>
                  <a:pt x="50" y="76"/>
                </a:cubicBezTo>
                <a:cubicBezTo>
                  <a:pt x="49" y="70"/>
                  <a:pt x="50" y="68"/>
                  <a:pt x="51" y="68"/>
                </a:cubicBezTo>
                <a:cubicBezTo>
                  <a:pt x="51" y="68"/>
                  <a:pt x="51" y="68"/>
                  <a:pt x="51" y="68"/>
                </a:cubicBezTo>
                <a:cubicBezTo>
                  <a:pt x="52" y="68"/>
                  <a:pt x="53" y="67"/>
                  <a:pt x="54" y="66"/>
                </a:cubicBezTo>
                <a:cubicBezTo>
                  <a:pt x="54" y="66"/>
                  <a:pt x="55" y="64"/>
                  <a:pt x="54" y="63"/>
                </a:cubicBezTo>
                <a:cubicBezTo>
                  <a:pt x="51" y="55"/>
                  <a:pt x="53" y="45"/>
                  <a:pt x="58" y="38"/>
                </a:cubicBezTo>
                <a:cubicBezTo>
                  <a:pt x="64" y="30"/>
                  <a:pt x="73" y="25"/>
                  <a:pt x="85" y="25"/>
                </a:cubicBezTo>
                <a:cubicBezTo>
                  <a:pt x="96" y="25"/>
                  <a:pt x="106" y="30"/>
                  <a:pt x="111" y="38"/>
                </a:cubicBezTo>
                <a:cubicBezTo>
                  <a:pt x="117" y="45"/>
                  <a:pt x="118" y="55"/>
                  <a:pt x="115" y="63"/>
                </a:cubicBezTo>
                <a:cubicBezTo>
                  <a:pt x="115" y="64"/>
                  <a:pt x="115" y="66"/>
                  <a:pt x="116" y="66"/>
                </a:cubicBezTo>
                <a:cubicBezTo>
                  <a:pt x="116" y="67"/>
                  <a:pt x="117" y="68"/>
                  <a:pt x="118" y="68"/>
                </a:cubicBezTo>
                <a:cubicBezTo>
                  <a:pt x="119" y="68"/>
                  <a:pt x="119" y="68"/>
                  <a:pt x="119" y="68"/>
                </a:cubicBezTo>
                <a:cubicBezTo>
                  <a:pt x="119" y="68"/>
                  <a:pt x="120" y="70"/>
                  <a:pt x="119" y="76"/>
                </a:cubicBezTo>
                <a:cubicBezTo>
                  <a:pt x="118" y="82"/>
                  <a:pt x="115" y="86"/>
                  <a:pt x="113" y="86"/>
                </a:cubicBezTo>
                <a:cubicBezTo>
                  <a:pt x="112" y="86"/>
                  <a:pt x="110" y="87"/>
                  <a:pt x="110" y="88"/>
                </a:cubicBezTo>
                <a:cubicBezTo>
                  <a:pt x="108" y="94"/>
                  <a:pt x="106" y="99"/>
                  <a:pt x="103" y="103"/>
                </a:cubicBezTo>
                <a:cubicBezTo>
                  <a:pt x="103" y="103"/>
                  <a:pt x="103" y="104"/>
                  <a:pt x="103" y="104"/>
                </a:cubicBezTo>
                <a:cubicBezTo>
                  <a:pt x="103" y="106"/>
                  <a:pt x="101" y="118"/>
                  <a:pt x="103" y="124"/>
                </a:cubicBezTo>
                <a:cubicBezTo>
                  <a:pt x="105" y="128"/>
                  <a:pt x="109" y="130"/>
                  <a:pt x="114" y="132"/>
                </a:cubicBezTo>
                <a:cubicBezTo>
                  <a:pt x="124" y="135"/>
                  <a:pt x="131" y="140"/>
                  <a:pt x="134" y="146"/>
                </a:cubicBezTo>
                <a:cubicBezTo>
                  <a:pt x="131" y="148"/>
                  <a:pt x="127" y="151"/>
                  <a:pt x="124" y="153"/>
                </a:cubicBezTo>
                <a:cubicBezTo>
                  <a:pt x="120" y="155"/>
                  <a:pt x="116" y="157"/>
                  <a:pt x="112" y="158"/>
                </a:cubicBezTo>
                <a:cubicBezTo>
                  <a:pt x="103" y="162"/>
                  <a:pt x="94" y="163"/>
                  <a:pt x="85" y="163"/>
                </a:cubicBezTo>
                <a:cubicBezTo>
                  <a:pt x="76" y="163"/>
                  <a:pt x="67" y="162"/>
                  <a:pt x="58" y="158"/>
                </a:cubicBezTo>
                <a:cubicBezTo>
                  <a:pt x="54" y="157"/>
                  <a:pt x="50" y="155"/>
                  <a:pt x="47" y="153"/>
                </a:cubicBezTo>
                <a:cubicBezTo>
                  <a:pt x="43" y="151"/>
                  <a:pt x="39" y="148"/>
                  <a:pt x="36" y="146"/>
                </a:cubicBezTo>
                <a:cubicBezTo>
                  <a:pt x="39" y="141"/>
                  <a:pt x="45" y="137"/>
                  <a:pt x="54" y="133"/>
                </a:cubicBezTo>
                <a:close/>
                <a:moveTo>
                  <a:pt x="109" y="122"/>
                </a:moveTo>
                <a:cubicBezTo>
                  <a:pt x="108" y="117"/>
                  <a:pt x="109" y="107"/>
                  <a:pt x="110" y="106"/>
                </a:cubicBezTo>
                <a:cubicBezTo>
                  <a:pt x="112" y="102"/>
                  <a:pt x="114" y="97"/>
                  <a:pt x="116" y="92"/>
                </a:cubicBezTo>
                <a:cubicBezTo>
                  <a:pt x="121" y="90"/>
                  <a:pt x="125" y="83"/>
                  <a:pt x="126" y="77"/>
                </a:cubicBezTo>
                <a:cubicBezTo>
                  <a:pt x="127" y="70"/>
                  <a:pt x="126" y="66"/>
                  <a:pt x="124" y="64"/>
                </a:cubicBezTo>
                <a:cubicBezTo>
                  <a:pt x="123" y="63"/>
                  <a:pt x="123" y="63"/>
                  <a:pt x="122" y="62"/>
                </a:cubicBezTo>
                <a:cubicBezTo>
                  <a:pt x="125" y="52"/>
                  <a:pt x="123" y="42"/>
                  <a:pt x="117" y="34"/>
                </a:cubicBezTo>
                <a:cubicBezTo>
                  <a:pt x="110" y="24"/>
                  <a:pt x="98" y="19"/>
                  <a:pt x="85" y="19"/>
                </a:cubicBezTo>
                <a:cubicBezTo>
                  <a:pt x="71" y="19"/>
                  <a:pt x="59" y="24"/>
                  <a:pt x="52" y="34"/>
                </a:cubicBezTo>
                <a:cubicBezTo>
                  <a:pt x="47" y="42"/>
                  <a:pt x="45" y="52"/>
                  <a:pt x="47" y="62"/>
                </a:cubicBezTo>
                <a:cubicBezTo>
                  <a:pt x="46" y="63"/>
                  <a:pt x="46" y="63"/>
                  <a:pt x="45" y="64"/>
                </a:cubicBezTo>
                <a:cubicBezTo>
                  <a:pt x="43" y="66"/>
                  <a:pt x="43" y="70"/>
                  <a:pt x="44" y="77"/>
                </a:cubicBezTo>
                <a:cubicBezTo>
                  <a:pt x="45" y="83"/>
                  <a:pt x="48" y="90"/>
                  <a:pt x="54" y="92"/>
                </a:cubicBezTo>
                <a:cubicBezTo>
                  <a:pt x="55" y="97"/>
                  <a:pt x="58" y="102"/>
                  <a:pt x="60" y="106"/>
                </a:cubicBezTo>
                <a:cubicBezTo>
                  <a:pt x="61" y="110"/>
                  <a:pt x="61" y="118"/>
                  <a:pt x="60" y="122"/>
                </a:cubicBezTo>
                <a:cubicBezTo>
                  <a:pt x="59" y="124"/>
                  <a:pt x="55" y="125"/>
                  <a:pt x="51" y="127"/>
                </a:cubicBezTo>
                <a:cubicBezTo>
                  <a:pt x="41" y="130"/>
                  <a:pt x="35" y="135"/>
                  <a:pt x="31" y="141"/>
                </a:cubicBezTo>
                <a:cubicBezTo>
                  <a:pt x="15" y="126"/>
                  <a:pt x="7" y="106"/>
                  <a:pt x="7" y="85"/>
                </a:cubicBezTo>
                <a:cubicBezTo>
                  <a:pt x="7" y="42"/>
                  <a:pt x="42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06"/>
                  <a:pt x="155" y="126"/>
                  <a:pt x="140" y="141"/>
                </a:cubicBezTo>
                <a:cubicBezTo>
                  <a:pt x="134" y="133"/>
                  <a:pt x="123" y="129"/>
                  <a:pt x="117" y="126"/>
                </a:cubicBezTo>
                <a:cubicBezTo>
                  <a:pt x="117" y="126"/>
                  <a:pt x="117" y="126"/>
                  <a:pt x="117" y="126"/>
                </a:cubicBezTo>
                <a:cubicBezTo>
                  <a:pt x="113" y="125"/>
                  <a:pt x="110" y="123"/>
                  <a:pt x="109" y="1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9364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partment of Transport and Planning">
  <a:themeElements>
    <a:clrScheme name="DoTP-Reshuffle">
      <a:dk1>
        <a:sysClr val="windowText" lastClr="000000"/>
      </a:dk1>
      <a:lt1>
        <a:sysClr val="window" lastClr="FFFFFF"/>
      </a:lt1>
      <a:dk2>
        <a:srgbClr val="00B2A9"/>
      </a:dk2>
      <a:lt2>
        <a:srgbClr val="E1EEF9"/>
      </a:lt2>
      <a:accent1>
        <a:srgbClr val="CEDC00"/>
      </a:accent1>
      <a:accent2>
        <a:srgbClr val="FF9E1B"/>
      </a:accent2>
      <a:accent3>
        <a:srgbClr val="59CDC7"/>
      </a:accent3>
      <a:accent4>
        <a:srgbClr val="B2E8E5"/>
      </a:accent4>
      <a:accent5>
        <a:srgbClr val="009CA1"/>
      </a:accent5>
      <a:accent6>
        <a:srgbClr val="53565A"/>
      </a:accent6>
      <a:hlink>
        <a:srgbClr val="000000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A4 Landscape" id="{438BF162-3764-4584-B0CD-9395A47D9DAF}" vid="{B4B9E902-DE2C-4414-A3CB-8DF8900CC7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2BB819AAA975489E33CF0F50496490" ma:contentTypeVersion="10" ma:contentTypeDescription="Create a new document." ma:contentTypeScope="" ma:versionID="e8aed1a0a979e0d4bd7ee35307791cd5">
  <xsd:schema xmlns:xsd="http://www.w3.org/2001/XMLSchema" xmlns:xs="http://www.w3.org/2001/XMLSchema" xmlns:p="http://schemas.microsoft.com/office/2006/metadata/properties" xmlns:ns2="3dcb25b9-5e2a-4cbc-a1d6-f53ee7652e42" targetNamespace="http://schemas.microsoft.com/office/2006/metadata/properties" ma:root="true" ma:fieldsID="bdac9d7d3ad936dc420253b2d2cf3a3d" ns2:_="">
    <xsd:import namespace="3dcb25b9-5e2a-4cbc-a1d6-f53ee7652e4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b25b9-5e2a-4cbc-a1d6-f53ee7652e42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62a39602-bab5-4ac0-a14f-71daef3a25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cb25b9-5e2a-4cbc-a1d6-f53ee7652e4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24DF8B4-D5AA-4FD8-8D03-75F97358E0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10C241-CF37-486A-92AF-39D3BE562B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b25b9-5e2a-4cbc-a1d6-f53ee7652e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CFCEB6C-45F4-4726-B606-B308976B91D3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3dcb25b9-5e2a-4cbc-a1d6-f53ee7652e42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95</TotalTime>
  <Words>368</Words>
  <Application>Microsoft Office PowerPoint</Application>
  <PresentationFormat>Custom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Roboto</vt:lpstr>
      <vt:lpstr>Department of Transport and Planning</vt:lpstr>
      <vt:lpstr>think-cell Slide</vt:lpstr>
      <vt:lpstr>RFI PROCESS MAP</vt:lpstr>
    </vt:vector>
  </TitlesOfParts>
  <Company>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FI PROCESS MAP</dc:title>
  <dc:creator>Jared Johnson</dc:creator>
  <cp:lastModifiedBy>Alannah Tran</cp:lastModifiedBy>
  <cp:revision>7</cp:revision>
  <dcterms:created xsi:type="dcterms:W3CDTF">2023-03-01T06:12:54Z</dcterms:created>
  <dcterms:modified xsi:type="dcterms:W3CDTF">2023-07-31T01:0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98E819CE1EBB4F8D2096B3E0F0C2911D00920D8938CB0DFF4DA992446D3DD985C2</vt:lpwstr>
  </property>
  <property fmtid="{D5CDD505-2E9C-101B-9397-08002B2CF9AE}" pid="3" name="MediaServiceImageTags">
    <vt:lpwstr/>
  </property>
  <property fmtid="{D5CDD505-2E9C-101B-9397-08002B2CF9AE}" pid="4" name="Records Class Project">
    <vt:lpwstr>13</vt:lpwstr>
  </property>
  <property fmtid="{D5CDD505-2E9C-101B-9397-08002B2CF9AE}" pid="5" name="Dissemination Limiting Marker">
    <vt:lpwstr>2;#FOUO|955eb6fc-b35a-4808-8aa5-31e514fa3f26</vt:lpwstr>
  </property>
  <property fmtid="{D5CDD505-2E9C-101B-9397-08002B2CF9AE}" pid="6" name="Security Classification">
    <vt:lpwstr>1;#Unclassified|7fa379f4-4aba-4692-ab80-7d39d3a23cf4</vt:lpwstr>
  </property>
  <property fmtid="{D5CDD505-2E9C-101B-9397-08002B2CF9AE}" pid="7" name="_dlc_DocIdItemGuid">
    <vt:lpwstr>f7931719-ad95-4ffc-ac24-f404127448da</vt:lpwstr>
  </property>
  <property fmtid="{D5CDD505-2E9C-101B-9397-08002B2CF9AE}" pid="8" name="Record Purpose">
    <vt:lpwstr/>
  </property>
  <property fmtid="{D5CDD505-2E9C-101B-9397-08002B2CF9AE}" pid="9" name="Department Document Type">
    <vt:lpwstr/>
  </property>
  <property fmtid="{D5CDD505-2E9C-101B-9397-08002B2CF9AE}" pid="10" name="MSIP_Label_4257e2ab-f512-40e2-9c9a-c64247360765_Enabled">
    <vt:lpwstr>true</vt:lpwstr>
  </property>
  <property fmtid="{D5CDD505-2E9C-101B-9397-08002B2CF9AE}" pid="11" name="MSIP_Label_4257e2ab-f512-40e2-9c9a-c64247360765_SetDate">
    <vt:lpwstr>2023-06-09T04:50:47Z</vt:lpwstr>
  </property>
  <property fmtid="{D5CDD505-2E9C-101B-9397-08002B2CF9AE}" pid="12" name="MSIP_Label_4257e2ab-f512-40e2-9c9a-c64247360765_Method">
    <vt:lpwstr>Privileged</vt:lpwstr>
  </property>
  <property fmtid="{D5CDD505-2E9C-101B-9397-08002B2CF9AE}" pid="13" name="MSIP_Label_4257e2ab-f512-40e2-9c9a-c64247360765_Name">
    <vt:lpwstr>OFFICIAL</vt:lpwstr>
  </property>
  <property fmtid="{D5CDD505-2E9C-101B-9397-08002B2CF9AE}" pid="14" name="MSIP_Label_4257e2ab-f512-40e2-9c9a-c64247360765_SiteId">
    <vt:lpwstr>e8bdd6f7-fc18-4e48-a554-7f547927223b</vt:lpwstr>
  </property>
  <property fmtid="{D5CDD505-2E9C-101B-9397-08002B2CF9AE}" pid="15" name="MSIP_Label_4257e2ab-f512-40e2-9c9a-c64247360765_ActionId">
    <vt:lpwstr>83d17430-6945-4941-91d0-43a3897334a6</vt:lpwstr>
  </property>
  <property fmtid="{D5CDD505-2E9C-101B-9397-08002B2CF9AE}" pid="16" name="MSIP_Label_4257e2ab-f512-40e2-9c9a-c64247360765_ContentBits">
    <vt:lpwstr>2</vt:lpwstr>
  </property>
</Properties>
</file>